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2" r:id="rId4"/>
  </p:sldMasterIdLst>
  <p:notesMasterIdLst>
    <p:notesMasterId r:id="rId7"/>
  </p:notesMasterIdLst>
  <p:handoutMasterIdLst>
    <p:handoutMasterId r:id="rId8"/>
  </p:handoutMasterIdLst>
  <p:sldIdLst>
    <p:sldId id="317" r:id="rId5"/>
    <p:sldId id="318" r:id="rId6"/>
  </p:sldIdLst>
  <p:sldSz cx="6858000" cy="9906000" type="A4"/>
  <p:notesSz cx="6858000" cy="9144000"/>
  <p:custDataLst>
    <p:tags r:id="rId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875" userDrawn="1">
          <p15:clr>
            <a:srgbClr val="A4A3A4"/>
          </p15:clr>
        </p15:guide>
        <p15:guide id="2" orient="horz" pos="5464" userDrawn="1">
          <p15:clr>
            <a:srgbClr val="A4A3A4"/>
          </p15:clr>
        </p15:guide>
        <p15:guide id="3" orient="horz" pos="1143" userDrawn="1">
          <p15:clr>
            <a:srgbClr val="A4A3A4"/>
          </p15:clr>
        </p15:guide>
        <p15:guide id="4" orient="horz" pos="935" userDrawn="1">
          <p15:clr>
            <a:srgbClr val="A4A3A4"/>
          </p15:clr>
        </p15:guide>
        <p15:guide id="5" orient="horz" pos="780" userDrawn="1">
          <p15:clr>
            <a:srgbClr val="A4A3A4"/>
          </p15:clr>
        </p15:guide>
        <p15:guide id="6" orient="horz" pos="510" userDrawn="1">
          <p15:clr>
            <a:srgbClr val="A4A3A4"/>
          </p15:clr>
        </p15:guide>
        <p15:guide id="7" orient="horz" pos="345" userDrawn="1">
          <p15:clr>
            <a:srgbClr val="A4A3A4"/>
          </p15:clr>
        </p15:guide>
        <p15:guide id="8" orient="horz" pos="5122" userDrawn="1">
          <p15:clr>
            <a:srgbClr val="A4A3A4"/>
          </p15:clr>
        </p15:guide>
        <p15:guide id="9" pos="196" userDrawn="1">
          <p15:clr>
            <a:srgbClr val="A4A3A4"/>
          </p15:clr>
        </p15:guide>
        <p15:guide id="11" pos="2210" userDrawn="1">
          <p15:clr>
            <a:srgbClr val="A4A3A4"/>
          </p15:clr>
        </p15:guide>
        <p15:guide id="12" pos="2114" userDrawn="1">
          <p15:clr>
            <a:srgbClr val="A4A3A4"/>
          </p15:clr>
        </p15:guide>
        <p15:guide id="13" pos="86" userDrawn="1">
          <p15:clr>
            <a:srgbClr val="A4A3A4"/>
          </p15:clr>
        </p15:guide>
        <p15:guide id="14" pos="4125" userDrawn="1">
          <p15:clr>
            <a:srgbClr val="A4A3A4"/>
          </p15:clr>
        </p15:guide>
        <p15:guide id="15" pos="4235" userDrawn="1">
          <p15:clr>
            <a:srgbClr val="A4A3A4"/>
          </p15:clr>
        </p15:guide>
        <p15:guide id="16" orient="horz" pos="60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clrMru>
    <a:srgbClr val="FFCC00"/>
    <a:srgbClr val="D50029"/>
    <a:srgbClr val="E6E6E6"/>
    <a:srgbClr val="EAEAEA"/>
    <a:srgbClr val="005BBB"/>
    <a:srgbClr val="636363"/>
    <a:srgbClr val="F0F0F0"/>
    <a:srgbClr val="E1E1E1"/>
    <a:srgbClr val="0078D7"/>
    <a:srgbClr val="002A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FF054C6-E67B-493A-A13B-6F1C48A6EA3B}" v="1" dt="2023-09-07T09:04:45.425"/>
  </p1510:revLst>
</p1510:revInfo>
</file>

<file path=ppt/tableStyles.xml><?xml version="1.0" encoding="utf-8"?>
<a:tblStyleLst xmlns:a="http://schemas.openxmlformats.org/drawingml/2006/main" def="{5C22544A-7EE6-4342-B048-85BDC9FD1C3A}">
  <a:tblStyle styleId="{E969EC77-1B40-4C77-A995-AF05D22D4D0E}" styleName="DPDHL Table White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bg1">
              <a:tint val="100000"/>
            </a:schemeClr>
          </a:solidFill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solidFill>
            <a:schemeClr val="bg1"/>
          </a:solidFill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solidFill>
            <a:schemeClr val="bg1"/>
          </a:solidFill>
        </a:fill>
      </a:tcStyle>
    </a:firstRow>
  </a:tblStyle>
  <a:tblStyle styleId="{09810C2D-2C2F-4581-8AFF-CD78C2D722A2}" styleName="DPDHL Table No BG">
    <a:tblBg>
      <a:fill>
        <a:noFill/>
      </a:fill>
    </a:tblBg>
    <a:wholeTbl>
      <a:tcTxStyle>
        <a:fontRef idx="minor"/>
        <a:schemeClr val="accen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tint val="10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lumMod val="20000"/>
              <a:lumOff val="80000"/>
            </a:schemeClr>
          </a:solidFill>
        </a:fill>
      </a:tcStyle>
    </a:band1V>
    <a:band2V>
      <a:tcStyle>
        <a:tcBdr/>
      </a:tcStyle>
    </a:band2V>
    <a:lastCol>
      <a:tcTxStyle b="on"/>
      <a:tcStyle>
        <a:tcBdr/>
      </a:tcStyle>
    </a:lastCol>
    <a:firstCol>
      <a:tcTxStyle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309" autoAdjust="0"/>
    <p:restoredTop sz="94578" autoAdjust="0"/>
  </p:normalViewPr>
  <p:slideViewPr>
    <p:cSldViewPr snapToGrid="0" snapToObjects="1">
      <p:cViewPr varScale="1">
        <p:scale>
          <a:sx n="113" d="100"/>
          <a:sy n="113" d="100"/>
        </p:scale>
        <p:origin x="1974" y="114"/>
      </p:cViewPr>
      <p:guideLst>
        <p:guide orient="horz" pos="5875"/>
        <p:guide orient="horz" pos="5464"/>
        <p:guide orient="horz" pos="1143"/>
        <p:guide orient="horz" pos="935"/>
        <p:guide orient="horz" pos="780"/>
        <p:guide orient="horz" pos="510"/>
        <p:guide orient="horz" pos="345"/>
        <p:guide orient="horz" pos="5122"/>
        <p:guide pos="196"/>
        <p:guide pos="2210"/>
        <p:guide pos="2114"/>
        <p:guide pos="86"/>
        <p:guide pos="4125"/>
        <p:guide pos="4235"/>
        <p:guide orient="horz" pos="607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81" d="100"/>
          <a:sy n="81" d="100"/>
        </p:scale>
        <p:origin x="-2004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546000" y="0"/>
            <a:ext cx="3312000" cy="468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/>
            </a:lvl1pPr>
          </a:lstStyle>
          <a:p>
            <a:fld id="{19D11D04-14B6-471D-A1D6-B426EF7888B1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1/17/2024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546000" y="8604000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/>
            </a:lvl1pPr>
          </a:lstStyle>
          <a:p>
            <a:r>
              <a:rPr lang="en-US" dirty="0">
                <a:latin typeface="Arial" pitchFamily="34" charset="0"/>
                <a:cs typeface="Arial" pitchFamily="34" charset="0"/>
              </a:rPr>
              <a:t>Hand out </a:t>
            </a:r>
            <a:fld id="{1987F2A0-9623-4C79-B830-6D590DA5FFFF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84542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l">
              <a:defRPr sz="1200" b="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546000" y="0"/>
            <a:ext cx="3312000" cy="540000"/>
          </a:xfrm>
          <a:prstGeom prst="rect">
            <a:avLst/>
          </a:prstGeom>
        </p:spPr>
        <p:txBody>
          <a:bodyPr vert="horz" lIns="180000" tIns="180000" rIns="180000" bIns="0" rtlCol="0"/>
          <a:lstStyle>
            <a:lvl1pPr algn="r">
              <a:defRPr sz="1200"/>
            </a:lvl1pPr>
          </a:lstStyle>
          <a:p>
            <a:fld id="{2636F879-443D-410F-A2CF-15E984F48DC2}" type="datetimeFigureOut">
              <a:rPr lang="en-US" smtClean="0"/>
              <a:pPr/>
              <a:t>1/17/2024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2241550" y="685800"/>
            <a:ext cx="23749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 err="1"/>
              <a:t>Textmasterformate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l">
              <a:defRPr sz="1200" b="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546000" y="8602413"/>
            <a:ext cx="3312000" cy="540000"/>
          </a:xfrm>
          <a:prstGeom prst="rect">
            <a:avLst/>
          </a:prstGeom>
        </p:spPr>
        <p:txBody>
          <a:bodyPr vert="horz" lIns="180000" tIns="0" rIns="180000" bIns="180000" rtlCol="0" anchor="b"/>
          <a:lstStyle>
            <a:lvl1pPr algn="r">
              <a:defRPr sz="1200" b="0"/>
            </a:lvl1pPr>
          </a:lstStyle>
          <a:p>
            <a:r>
              <a:rPr lang="en-US" dirty="0"/>
              <a:t>Notice </a:t>
            </a:r>
            <a:fld id="{AE19FBA5-BE7F-4824-B54D-C07EBA2A496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0546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2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4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2pPr>
    <a:lvl3pPr marL="163513" indent="-163513" algn="l" defTabSz="914400" rtl="0" eaLnBrk="1" latinLnBrk="0" hangingPunct="1">
      <a:spcAft>
        <a:spcPts val="200"/>
      </a:spcAft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363538" indent="-176213" algn="l" defTabSz="914400" rtl="0" eaLnBrk="1" latinLnBrk="0" hangingPunct="1">
      <a:spcAft>
        <a:spcPts val="200"/>
      </a:spcAft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39750" indent="-176213" algn="l" defTabSz="309563" rtl="0" eaLnBrk="1" latinLnBrk="0" hangingPunct="1">
      <a:spcAft>
        <a:spcPts val="200"/>
      </a:spcAft>
      <a:buFont typeface="Arial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1927321"/>
              </p:ext>
            </p:extLst>
          </p:nvPr>
        </p:nvGraphicFramePr>
        <p:xfrm>
          <a:off x="1191" y="2295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2295"/>
                        <a:ext cx="1190" cy="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6858000" cy="9906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35000" y="7557911"/>
            <a:ext cx="6588000" cy="208209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44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310500" y="696800"/>
            <a:ext cx="6237000" cy="2236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6066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SAMPLE TITLE ONE OR</a:t>
            </a:r>
            <a:br>
              <a:rPr lang="en-US" dirty="0"/>
            </a:br>
            <a:r>
              <a:rPr lang="en-US" dirty="0"/>
              <a:t>TWO LINES, Arial, 4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310500" y="8975200"/>
            <a:ext cx="4536000" cy="31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733" b="1" baseline="0"/>
            </a:lvl1pPr>
          </a:lstStyle>
          <a:p>
            <a:pPr lvl="0"/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310500" y="1"/>
            <a:ext cx="3276538" cy="283663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320759" rtl="0" eaLnBrk="1" latinLnBrk="0" hangingPunct="1">
              <a:lnSpc>
                <a:spcPct val="100000"/>
              </a:lnSpc>
              <a:spcAft>
                <a:spcPts val="0"/>
              </a:spcAft>
              <a:defRPr lang="en-US" sz="13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1300" b="1" dirty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10" hasCustomPrompt="1"/>
          </p:nvPr>
        </p:nvSpPr>
        <p:spPr bwMode="gray">
          <a:xfrm>
            <a:off x="5156766" y="8856040"/>
            <a:ext cx="1350000" cy="374858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44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310500" y="2932801"/>
            <a:ext cx="6237000" cy="53912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437702" rtl="0" eaLnBrk="0" fontAlgn="base" latinLnBrk="0" hangingPunct="0">
              <a:lnSpc>
                <a:spcPct val="100000"/>
              </a:lnSpc>
              <a:spcAft>
                <a:spcPts val="0"/>
              </a:spcAft>
              <a:defRPr sz="2889"/>
            </a:lvl1pPr>
            <a:lvl2pPr marL="0" algn="l" defTabSz="1437702" rtl="0" eaLnBrk="0" fontAlgn="base" latinLnBrk="0" hangingPunct="0">
              <a:spcAft>
                <a:spcPts val="2311"/>
              </a:spcAft>
              <a:defRPr lang="en-US" sz="2889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437702" rtl="0" eaLnBrk="0" fontAlgn="base" latinLnBrk="0" hangingPunct="0"/>
            <a:r>
              <a:rPr lang="en-US" dirty="0"/>
              <a:t>Subline in one or two lines, Arial, 2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310500" y="3515200"/>
            <a:ext cx="6237000" cy="678757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0759" rtl="0" eaLnBrk="1" latinLnBrk="0" hangingPunct="1">
              <a:lnSpc>
                <a:spcPct val="100000"/>
              </a:lnSpc>
              <a:spcAft>
                <a:spcPts val="0"/>
              </a:spcAft>
              <a:defRPr lang="en-US" sz="1733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2311"/>
              </a:spcAft>
              <a:defRPr sz="2889" b="0" baseline="0"/>
            </a:lvl2pPr>
          </a:lstStyle>
          <a:p>
            <a:r>
              <a:rPr lang="en-US" dirty="0"/>
              <a:t>Name of the event or project or presenter, Arial 12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Location, ## Month ####</a:t>
            </a:r>
          </a:p>
        </p:txBody>
      </p:sp>
      <p:sp>
        <p:nvSpPr>
          <p:cNvPr id="6" name="meta-descriptor"/>
          <p:cNvSpPr>
            <a:spLocks noGrp="1"/>
          </p:cNvSpPr>
          <p:nvPr>
            <p:ph type="body" sz="quarter" idx="6" hasCustomPrompt="1"/>
          </p:nvPr>
        </p:nvSpPr>
        <p:spPr>
          <a:xfrm>
            <a:off x="310500" y="4258800"/>
            <a:ext cx="6237000" cy="494000"/>
          </a:xfrm>
        </p:spPr>
        <p:txBody>
          <a:bodyPr tIns="144000"/>
          <a:lstStyle>
            <a:lvl1pPr>
              <a:lnSpc>
                <a:spcPct val="100000"/>
              </a:lnSpc>
              <a:spcAft>
                <a:spcPts val="0"/>
              </a:spcAft>
              <a:defRPr sz="1733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DHL Business Unit – Business Unit Descriptor, Arial (bold), 12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8635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6300738"/>
              </p:ext>
            </p:extLst>
          </p:nvPr>
        </p:nvGraphicFramePr>
        <p:xfrm>
          <a:off x="1191" y="2295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2295"/>
                        <a:ext cx="1190" cy="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1"/>
          <p:cNvSpPr/>
          <p:nvPr/>
        </p:nvSpPr>
        <p:spPr bwMode="hidden">
          <a:xfrm>
            <a:off x="134541" y="8597804"/>
            <a:ext cx="6588000" cy="104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000" tIns="208000" rIns="208000" bIns="2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4377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22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6277500" y="8991671"/>
            <a:ext cx="272147" cy="36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14377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444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143770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444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2" name="Straight Connector 10"/>
          <p:cNvCxnSpPr/>
          <p:nvPr/>
        </p:nvCxnSpPr>
        <p:spPr bwMode="gray">
          <a:xfrm>
            <a:off x="310500" y="1466400"/>
            <a:ext cx="6237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310500" y="9068768"/>
            <a:ext cx="945000" cy="262633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1606500" y="8991671"/>
            <a:ext cx="4671000" cy="364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kumimoji="0" lang="en-US" sz="1444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GB" dirty="0"/>
              <a:t>WMS Template Change Management|  | July 2015</a:t>
            </a:r>
          </a:p>
        </p:txBody>
      </p:sp>
    </p:spTree>
    <p:extLst>
      <p:ext uri="{BB962C8B-B14F-4D97-AF65-F5344CB8AC3E}">
        <p14:creationId xmlns:p14="http://schemas.microsoft.com/office/powerpoint/2010/main" val="24001356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7015104"/>
              </p:ext>
            </p:extLst>
          </p:nvPr>
        </p:nvGraphicFramePr>
        <p:xfrm>
          <a:off x="1191" y="2295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2295"/>
                        <a:ext cx="1190" cy="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310754" y="1804399"/>
            <a:ext cx="3037500" cy="686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33"/>
          </p:nvPr>
        </p:nvSpPr>
        <p:spPr>
          <a:xfrm>
            <a:off x="3510000" y="1804399"/>
            <a:ext cx="3037500" cy="686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hteck 11"/>
          <p:cNvSpPr/>
          <p:nvPr/>
        </p:nvSpPr>
        <p:spPr bwMode="hidden">
          <a:xfrm>
            <a:off x="134541" y="8597804"/>
            <a:ext cx="6588000" cy="104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000" tIns="208000" rIns="208000" bIns="2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4377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22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6277500" y="8991671"/>
            <a:ext cx="272147" cy="36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14377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444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143770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444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4" name="Titel 13"/>
          <p:cNvSpPr>
            <a:spLocks noGrp="1"/>
          </p:cNvSpPr>
          <p:nvPr>
            <p:ph type="title"/>
          </p:nvPr>
        </p:nvSpPr>
        <p:spPr>
          <a:xfrm>
            <a:off x="310500" y="291200"/>
            <a:ext cx="6237000" cy="1029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1" name="Straight Connector 10"/>
          <p:cNvCxnSpPr/>
          <p:nvPr/>
        </p:nvCxnSpPr>
        <p:spPr bwMode="gray">
          <a:xfrm>
            <a:off x="310500" y="1466400"/>
            <a:ext cx="6237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310500" y="9068768"/>
            <a:ext cx="945000" cy="262633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1606500" y="8991671"/>
            <a:ext cx="4671000" cy="364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kumimoji="0" lang="en-US" sz="1444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GB" dirty="0"/>
              <a:t>WMS Template Change Management|  | July 2015</a:t>
            </a:r>
          </a:p>
        </p:txBody>
      </p:sp>
    </p:spTree>
    <p:extLst>
      <p:ext uri="{BB962C8B-B14F-4D97-AF65-F5344CB8AC3E}">
        <p14:creationId xmlns:p14="http://schemas.microsoft.com/office/powerpoint/2010/main" val="26303456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2927601"/>
              </p:ext>
            </p:extLst>
          </p:nvPr>
        </p:nvGraphicFramePr>
        <p:xfrm>
          <a:off x="1191" y="2295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2295"/>
                        <a:ext cx="1190" cy="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11"/>
          <p:cNvSpPr/>
          <p:nvPr/>
        </p:nvSpPr>
        <p:spPr bwMode="hidden">
          <a:xfrm>
            <a:off x="134541" y="8597804"/>
            <a:ext cx="6588000" cy="104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000" tIns="208000" rIns="208000" bIns="2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4377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22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3510000" y="1804400"/>
            <a:ext cx="3037500" cy="6786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132075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722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Rechteck 8"/>
          <p:cNvSpPr/>
          <p:nvPr/>
        </p:nvSpPr>
        <p:spPr bwMode="gray">
          <a:xfrm>
            <a:off x="6277500" y="8991671"/>
            <a:ext cx="272147" cy="36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14377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444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143770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444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310500" y="291200"/>
            <a:ext cx="6237000" cy="1029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310754" y="1804399"/>
            <a:ext cx="3037500" cy="686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5" name="Straight Connector 10"/>
          <p:cNvCxnSpPr/>
          <p:nvPr/>
        </p:nvCxnSpPr>
        <p:spPr bwMode="gray">
          <a:xfrm>
            <a:off x="310500" y="1466400"/>
            <a:ext cx="6237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310500" y="9068768"/>
            <a:ext cx="945000" cy="262633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1606500" y="8991671"/>
            <a:ext cx="4671000" cy="364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kumimoji="0" lang="en-US" sz="1444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GB" dirty="0"/>
              <a:t>WMS Template Change Management|  | July 2015</a:t>
            </a:r>
          </a:p>
        </p:txBody>
      </p:sp>
    </p:spTree>
    <p:extLst>
      <p:ext uri="{BB962C8B-B14F-4D97-AF65-F5344CB8AC3E}">
        <p14:creationId xmlns:p14="http://schemas.microsoft.com/office/powerpoint/2010/main" val="33340041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2927601"/>
              </p:ext>
            </p:extLst>
          </p:nvPr>
        </p:nvGraphicFramePr>
        <p:xfrm>
          <a:off x="1192" y="2295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2295"/>
                        <a:ext cx="1190" cy="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hteck 11"/>
          <p:cNvSpPr/>
          <p:nvPr/>
        </p:nvSpPr>
        <p:spPr bwMode="hidden">
          <a:xfrm>
            <a:off x="134541" y="8597804"/>
            <a:ext cx="6588000" cy="104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000" tIns="208000" rIns="208000" bIns="2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4377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22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1"/>
          </p:nvPr>
        </p:nvSpPr>
        <p:spPr bwMode="ltGray">
          <a:xfrm>
            <a:off x="3508772" y="1804400"/>
            <a:ext cx="3037500" cy="4836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132075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722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7" name="Rechteck 8"/>
          <p:cNvSpPr/>
          <p:nvPr/>
        </p:nvSpPr>
        <p:spPr bwMode="gray">
          <a:xfrm>
            <a:off x="6277500" y="8991671"/>
            <a:ext cx="272147" cy="36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14377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444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143770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444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3508772" y="6822400"/>
            <a:ext cx="1471500" cy="176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132075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722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5076000" y="6822400"/>
            <a:ext cx="1471500" cy="17680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132075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722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Textplatzhalter 15"/>
          <p:cNvSpPr>
            <a:spLocks noGrp="1"/>
          </p:cNvSpPr>
          <p:nvPr>
            <p:ph type="body" sz="quarter" idx="32"/>
          </p:nvPr>
        </p:nvSpPr>
        <p:spPr>
          <a:xfrm>
            <a:off x="310754" y="1804399"/>
            <a:ext cx="3037500" cy="6869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>
          <a:xfrm>
            <a:off x="310500" y="291200"/>
            <a:ext cx="6237000" cy="1029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0" name="Straight Connector 10"/>
          <p:cNvCxnSpPr/>
          <p:nvPr/>
        </p:nvCxnSpPr>
        <p:spPr bwMode="gray">
          <a:xfrm>
            <a:off x="310500" y="1466400"/>
            <a:ext cx="6237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310500" y="9068768"/>
            <a:ext cx="945000" cy="262633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1606500" y="8991671"/>
            <a:ext cx="4671000" cy="364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kumimoji="0" lang="en-US" sz="1444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GB" dirty="0"/>
              <a:t>WMS Template Change Management|  | July 2015</a:t>
            </a:r>
          </a:p>
        </p:txBody>
      </p:sp>
    </p:spTree>
    <p:extLst>
      <p:ext uri="{BB962C8B-B14F-4D97-AF65-F5344CB8AC3E}">
        <p14:creationId xmlns:p14="http://schemas.microsoft.com/office/powerpoint/2010/main" val="33340041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picture, gradi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6687896"/>
              </p:ext>
            </p:extLst>
          </p:nvPr>
        </p:nvGraphicFramePr>
        <p:xfrm>
          <a:off x="1192" y="2295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2295"/>
                        <a:ext cx="1190" cy="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6858000" cy="9906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1" hasCustomPrompt="1"/>
          </p:nvPr>
        </p:nvSpPr>
        <p:spPr bwMode="hidden">
          <a:xfrm>
            <a:off x="310500" y="4751414"/>
            <a:ext cx="3976528" cy="4285519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wrap="square" lIns="180000" tIns="432000" rIns="180000" bIns="180000" anchor="b" anchorCtr="0">
            <a:spAutoFit/>
          </a:bodyPr>
          <a:lstStyle>
            <a:lvl1pPr>
              <a:defRPr sz="3611" b="0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“This space is reserved for quotes. The box adjusts itself to the inserted text. Arial, 25 pt”</a:t>
            </a:r>
          </a:p>
        </p:txBody>
      </p:sp>
      <p:sp>
        <p:nvSpPr>
          <p:cNvPr id="7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10500" y="1"/>
            <a:ext cx="3276538" cy="283663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320759" rtl="0" eaLnBrk="1" latinLnBrk="0" hangingPunct="1">
              <a:lnSpc>
                <a:spcPct val="100000"/>
              </a:lnSpc>
              <a:spcAft>
                <a:spcPts val="0"/>
              </a:spcAft>
              <a:defRPr lang="en-US" sz="13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1300" b="1" dirty="0">
                <a:solidFill>
                  <a:schemeClr val="accent1"/>
                </a:solidFill>
              </a:rPr>
              <a:t>PLEASE INSERT CLASSIFICATION HERE</a:t>
            </a:r>
            <a:endParaRPr lang="en-US" sz="1300" b="1" kern="0" cap="all" baseline="0" dirty="0">
              <a:solidFill>
                <a:schemeClr val="accent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021111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929300"/>
              </p:ext>
            </p:extLst>
          </p:nvPr>
        </p:nvGraphicFramePr>
        <p:xfrm>
          <a:off x="1192" y="2295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2295"/>
                        <a:ext cx="1190" cy="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10500" y="1992666"/>
            <a:ext cx="6237000" cy="4923190"/>
          </a:xfrm>
          <a:prstGeom prst="rect">
            <a:avLst/>
          </a:prstGeom>
        </p:spPr>
        <p:txBody>
          <a:bodyPr lIns="900000" tIns="0" rIns="900000" bIns="0" anchor="ctr" anchorCtr="0"/>
          <a:lstStyle>
            <a:lvl1pPr algn="l">
              <a:defRPr sz="4333" b="0">
                <a:solidFill>
                  <a:srgbClr val="D40511"/>
                </a:solidFill>
                <a:latin typeface="+mj-lt"/>
              </a:defRPr>
            </a:lvl1pPr>
          </a:lstStyle>
          <a:p>
            <a:r>
              <a:rPr lang="en-US" dirty="0"/>
              <a:t>“This space is reserved for quotes. </a:t>
            </a:r>
            <a:br>
              <a:rPr lang="en-US" dirty="0"/>
            </a:br>
            <a:r>
              <a:rPr lang="en-US" dirty="0"/>
              <a:t>Arial, 30 pt”</a:t>
            </a:r>
          </a:p>
        </p:txBody>
      </p:sp>
      <p:sp>
        <p:nvSpPr>
          <p:cNvPr id="5" name="Rechteck 8"/>
          <p:cNvSpPr/>
          <p:nvPr/>
        </p:nvSpPr>
        <p:spPr bwMode="gray">
          <a:xfrm>
            <a:off x="6277489" y="8991671"/>
            <a:ext cx="272147" cy="36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14377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444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143770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444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310500" y="9068768"/>
            <a:ext cx="945000" cy="26263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1606500" y="8991671"/>
            <a:ext cx="4671000" cy="364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kumimoji="0" lang="en-US" sz="1444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GB" dirty="0"/>
              <a:t>WMS Template Change Management|  | July 2015</a:t>
            </a:r>
          </a:p>
        </p:txBody>
      </p:sp>
    </p:spTree>
    <p:extLst>
      <p:ext uri="{BB962C8B-B14F-4D97-AF65-F5344CB8AC3E}">
        <p14:creationId xmlns:p14="http://schemas.microsoft.com/office/powerpoint/2010/main" val="23799996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6300738"/>
              </p:ext>
            </p:extLst>
          </p:nvPr>
        </p:nvGraphicFramePr>
        <p:xfrm>
          <a:off x="1191" y="2295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2295"/>
                        <a:ext cx="1190" cy="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1"/>
          <p:cNvSpPr/>
          <p:nvPr/>
        </p:nvSpPr>
        <p:spPr bwMode="hidden">
          <a:xfrm>
            <a:off x="134541" y="8597804"/>
            <a:ext cx="6588000" cy="104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000" tIns="208000" rIns="208000" bIns="2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4377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22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310499" y="1804400"/>
            <a:ext cx="6237000" cy="68692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320759" rtl="0" eaLnBrk="1" fontAlgn="auto" latinLnBrk="0" hangingPunct="1">
              <a:lnSpc>
                <a:spcPct val="110000"/>
              </a:lnSpc>
              <a:spcBef>
                <a:spcPts val="2022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22" b="1"/>
            </a:lvl1pPr>
            <a:lvl2pPr marL="0" marR="0" indent="0" algn="l" defTabSz="132075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22" b="0"/>
            </a:lvl2pPr>
            <a:lvl3pPr marL="259992" marR="0" indent="-259992" algn="l" defTabSz="132075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lvl3pPr>
            <a:lvl4pPr marL="519984" marR="0" indent="-259992" algn="l" defTabSz="132075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pitchFamily="18" charset="2"/>
              <a:buChar char="-"/>
              <a:tabLst/>
              <a:defRPr/>
            </a:lvl4pPr>
            <a:lvl5pPr marL="770443" marR="0" indent="-252228" algn="l" defTabSz="132075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ymbol" charset="2"/>
              <a:buChar char="-"/>
              <a:tabLst/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Rechteck 8"/>
          <p:cNvSpPr/>
          <p:nvPr/>
        </p:nvSpPr>
        <p:spPr bwMode="gray">
          <a:xfrm>
            <a:off x="6277500" y="8991671"/>
            <a:ext cx="272147" cy="36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14377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444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143770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444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noProof="0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310500" y="1466400"/>
            <a:ext cx="6237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310500" y="9068768"/>
            <a:ext cx="945000" cy="262633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1606500" y="8991671"/>
            <a:ext cx="4671000" cy="364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kumimoji="0" lang="en-US" sz="1444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GB" dirty="0"/>
              <a:t>WMS Template Change Management|  | July 2015</a:t>
            </a:r>
          </a:p>
        </p:txBody>
      </p:sp>
    </p:spTree>
    <p:extLst>
      <p:ext uri="{BB962C8B-B14F-4D97-AF65-F5344CB8AC3E}">
        <p14:creationId xmlns:p14="http://schemas.microsoft.com/office/powerpoint/2010/main" val="24001356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4440759"/>
              </p:ext>
            </p:extLst>
          </p:nvPr>
        </p:nvGraphicFramePr>
        <p:xfrm>
          <a:off x="1191" y="2295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2295"/>
                        <a:ext cx="1190" cy="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6858000" cy="9906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310500" y="6723600"/>
            <a:ext cx="6237000" cy="891999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8666"/>
              </a:lnSpc>
              <a:defRPr sz="6066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10" name="Text Placeholder 30"/>
          <p:cNvSpPr>
            <a:spLocks noGrp="1"/>
          </p:cNvSpPr>
          <p:nvPr>
            <p:ph type="body" sz="quarter" idx="20"/>
          </p:nvPr>
        </p:nvSpPr>
        <p:spPr bwMode="hidden">
          <a:xfrm>
            <a:off x="135000" y="8595600"/>
            <a:ext cx="6588000" cy="104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44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10500" y="1"/>
            <a:ext cx="3276538" cy="283663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320759" rtl="0" eaLnBrk="1" latinLnBrk="0" hangingPunct="1">
              <a:lnSpc>
                <a:spcPct val="100000"/>
              </a:lnSpc>
              <a:spcAft>
                <a:spcPts val="0"/>
              </a:spcAft>
              <a:defRPr lang="en-US" sz="13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1300" b="1" dirty="0">
                <a:solidFill>
                  <a:schemeClr val="accent1"/>
                </a:solidFill>
              </a:rPr>
              <a:t>PLEASE INSERT CLASSIFICATION HERE</a:t>
            </a:r>
            <a:endParaRPr lang="en-US" sz="1300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310500" y="9068800"/>
            <a:ext cx="945000" cy="262398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44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.</a:t>
            </a:r>
          </a:p>
        </p:txBody>
      </p:sp>
    </p:spTree>
    <p:extLst>
      <p:ext uri="{BB962C8B-B14F-4D97-AF65-F5344CB8AC3E}">
        <p14:creationId xmlns:p14="http://schemas.microsoft.com/office/powerpoint/2010/main" val="19450354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743627"/>
              </p:ext>
            </p:extLst>
          </p:nvPr>
        </p:nvGraphicFramePr>
        <p:xfrm>
          <a:off x="1192" y="2295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2295"/>
                        <a:ext cx="1190" cy="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6858000" cy="9906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35001" y="260000"/>
            <a:ext cx="6588000" cy="104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tabLst>
                <a:tab pos="8942642" algn="l"/>
              </a:tabLst>
              <a:defRPr sz="144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310500" y="1944800"/>
            <a:ext cx="6237000" cy="891999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8666"/>
              </a:lnSpc>
              <a:defRPr sz="6066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10500" y="9032401"/>
            <a:ext cx="3276538" cy="283663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320759" rtl="0" eaLnBrk="1" latinLnBrk="0" hangingPunct="1">
              <a:lnSpc>
                <a:spcPct val="100000"/>
              </a:lnSpc>
              <a:spcAft>
                <a:spcPts val="0"/>
              </a:spcAft>
              <a:defRPr lang="en-US" sz="13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1300" b="1" dirty="0">
                <a:solidFill>
                  <a:schemeClr val="accent1"/>
                </a:solidFill>
              </a:rPr>
              <a:t>PLEASE INSERT CLASSIFICATION HERE</a:t>
            </a:r>
            <a:endParaRPr lang="en-US" sz="1300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310500" y="533296"/>
            <a:ext cx="945000" cy="262398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44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.</a:t>
            </a:r>
          </a:p>
        </p:txBody>
      </p:sp>
    </p:spTree>
    <p:extLst>
      <p:ext uri="{BB962C8B-B14F-4D97-AF65-F5344CB8AC3E}">
        <p14:creationId xmlns:p14="http://schemas.microsoft.com/office/powerpoint/2010/main" val="41639161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6218559"/>
              </p:ext>
            </p:extLst>
          </p:nvPr>
        </p:nvGraphicFramePr>
        <p:xfrm>
          <a:off x="1191" y="2295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2295"/>
                        <a:ext cx="1190" cy="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310500" y="2428400"/>
            <a:ext cx="6237000" cy="1081600"/>
          </a:xfrm>
          <a:prstGeom prst="rect">
            <a:avLst/>
          </a:prstGeom>
        </p:spPr>
        <p:txBody>
          <a:bodyPr wrap="none" lIns="0" tIns="0" rIns="0" bIns="0" anchor="t" anchorCtr="0"/>
          <a:lstStyle>
            <a:lvl1pPr>
              <a:lnSpc>
                <a:spcPts val="8666"/>
              </a:lnSpc>
              <a:defRPr sz="6066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6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310500" y="9068768"/>
            <a:ext cx="945000" cy="2626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706489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1182461"/>
              </p:ext>
            </p:extLst>
          </p:nvPr>
        </p:nvGraphicFramePr>
        <p:xfrm>
          <a:off x="1191" y="2295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2295"/>
                        <a:ext cx="1190" cy="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6858000" cy="9906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35001" y="261409"/>
            <a:ext cx="6588000" cy="208209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44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310500" y="1128400"/>
            <a:ext cx="6237000" cy="2236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6066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SAMPLE TITLE ONE OR</a:t>
            </a:r>
            <a:br>
              <a:rPr lang="en-US" dirty="0"/>
            </a:br>
            <a:r>
              <a:rPr lang="en-US" dirty="0"/>
              <a:t>TWO LINES, Arial, 4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310500" y="644800"/>
            <a:ext cx="4114800" cy="34231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>
              <a:defRPr sz="1733" b="1">
                <a:solidFill>
                  <a:sysClr val="windowText" lastClr="000000"/>
                </a:solidFill>
              </a:defRPr>
            </a:lvl1pPr>
          </a:lstStyle>
          <a:p>
            <a:pPr lvl="0"/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310500" y="9032401"/>
            <a:ext cx="3276538" cy="283663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320759" rtl="0" eaLnBrk="1" latinLnBrk="0" hangingPunct="1">
              <a:lnSpc>
                <a:spcPct val="100000"/>
              </a:lnSpc>
              <a:spcAft>
                <a:spcPts val="0"/>
              </a:spcAft>
              <a:defRPr lang="en-US" sz="13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1300" b="1" dirty="0">
                <a:solidFill>
                  <a:schemeClr val="accent1"/>
                </a:solidFill>
              </a:rPr>
              <a:t>PLEASE INSERT CLASSIFICATION HERE</a:t>
            </a:r>
          </a:p>
        </p:txBody>
      </p:sp>
      <p:sp>
        <p:nvSpPr>
          <p:cNvPr id="10" name="Text Placeholder 27"/>
          <p:cNvSpPr>
            <a:spLocks noGrp="1" noChangeAspect="1"/>
          </p:cNvSpPr>
          <p:nvPr>
            <p:ph type="body" sz="quarter" idx="10" hasCustomPrompt="1"/>
          </p:nvPr>
        </p:nvSpPr>
        <p:spPr bwMode="gray">
          <a:xfrm>
            <a:off x="5156766" y="672561"/>
            <a:ext cx="1350000" cy="374858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44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310500" y="3364401"/>
            <a:ext cx="6237000" cy="53912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437702" rtl="0" eaLnBrk="0" fontAlgn="base" latinLnBrk="0" hangingPunct="0">
              <a:lnSpc>
                <a:spcPct val="100000"/>
              </a:lnSpc>
              <a:spcAft>
                <a:spcPts val="0"/>
              </a:spcAft>
              <a:defRPr sz="2889"/>
            </a:lvl1pPr>
            <a:lvl2pPr marL="0" algn="l" defTabSz="1437702" rtl="0" eaLnBrk="0" fontAlgn="base" latinLnBrk="0" hangingPunct="0">
              <a:spcAft>
                <a:spcPts val="2311"/>
              </a:spcAft>
              <a:defRPr lang="en-US" sz="2889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437702" rtl="0" eaLnBrk="0" fontAlgn="base" latinLnBrk="0" hangingPunct="0"/>
            <a:r>
              <a:rPr lang="en-US" dirty="0"/>
              <a:t>Subline in one or two lines, Arial, 2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310500" y="3946800"/>
            <a:ext cx="6237000" cy="678757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0759" rtl="0" eaLnBrk="1" latinLnBrk="0" hangingPunct="1">
              <a:lnSpc>
                <a:spcPct val="100000"/>
              </a:lnSpc>
              <a:spcAft>
                <a:spcPts val="0"/>
              </a:spcAft>
              <a:defRPr lang="en-US" sz="1733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2311"/>
              </a:spcAft>
              <a:defRPr sz="2889" b="0" baseline="0"/>
            </a:lvl2pPr>
          </a:lstStyle>
          <a:p>
            <a:r>
              <a:rPr lang="en-US" dirty="0"/>
              <a:t>Name of the event or project or presenter, Arial 12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Location, ## Month ####</a:t>
            </a:r>
          </a:p>
        </p:txBody>
      </p:sp>
      <p:sp>
        <p:nvSpPr>
          <p:cNvPr id="6" name="meta-descriptor"/>
          <p:cNvSpPr>
            <a:spLocks noGrp="1"/>
          </p:cNvSpPr>
          <p:nvPr>
            <p:ph type="body" sz="quarter" idx="6" hasCustomPrompt="1"/>
          </p:nvPr>
        </p:nvSpPr>
        <p:spPr>
          <a:xfrm>
            <a:off x="310500" y="4690400"/>
            <a:ext cx="6237000" cy="494000"/>
          </a:xfrm>
        </p:spPr>
        <p:txBody>
          <a:bodyPr tIns="144000"/>
          <a:lstStyle>
            <a:lvl1pPr>
              <a:lnSpc>
                <a:spcPct val="100000"/>
              </a:lnSpc>
              <a:spcAft>
                <a:spcPts val="0"/>
              </a:spcAft>
              <a:defRPr sz="1733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DHL Business Unit – Business Unit Descriptor, Arial (bold), 12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6368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11" hidden="1"/>
          <p:cNvSpPr>
            <a:spLocks noGrp="1" noChangeArrowheads="1"/>
          </p:cNvSpPr>
          <p:nvPr>
            <p:ph type="dt" sz="half" idx="11"/>
            <p:custDataLst>
              <p:tags r:id="rId1"/>
            </p:custDataLst>
          </p:nvPr>
        </p:nvSpPr>
        <p:spPr>
          <a:xfrm>
            <a:off x="3810000" y="9573508"/>
            <a:ext cx="762000" cy="25911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AAEDB7-84F8-4214-A99B-B8801682C6CC}" type="datetime1">
              <a:rPr lang="en-US" sz="2600" smtClean="0">
                <a:solidFill>
                  <a:srgbClr val="000000"/>
                </a:solidFill>
              </a:rPr>
              <a:pPr>
                <a:defRPr/>
              </a:pPr>
              <a:t>1/17/2024</a:t>
            </a:fld>
            <a:endParaRPr lang="en-US" sz="2600" dirty="0">
              <a:solidFill>
                <a:srgbClr val="000000"/>
              </a:solidFill>
            </a:endParaRPr>
          </a:p>
        </p:txBody>
      </p:sp>
      <p:sp>
        <p:nvSpPr>
          <p:cNvPr id="6" name="Rectangle 12" hidden="1"/>
          <p:cNvSpPr>
            <a:spLocks noGrp="1" noChangeArrowheads="1"/>
          </p:cNvSpPr>
          <p:nvPr>
            <p:ph type="ftr" sz="quarter" idx="12"/>
            <p:custDataLst>
              <p:tags r:id="rId2"/>
            </p:custDataLst>
          </p:nvPr>
        </p:nvSpPr>
        <p:spPr>
          <a:xfrm>
            <a:off x="381000" y="9573508"/>
            <a:ext cx="5534025" cy="25911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 sz="2600" dirty="0">
              <a:solidFill>
                <a:srgbClr val="000000"/>
              </a:solidFill>
            </a:endParaRPr>
          </a:p>
        </p:txBody>
      </p:sp>
      <p:cxnSp>
        <p:nvCxnSpPr>
          <p:cNvPr id="7" name="Gerade Verbindung 8"/>
          <p:cNvCxnSpPr/>
          <p:nvPr userDrawn="1"/>
        </p:nvCxnSpPr>
        <p:spPr>
          <a:xfrm>
            <a:off x="348854" y="1423988"/>
            <a:ext cx="6156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51000" y="675999"/>
            <a:ext cx="6156000" cy="747990"/>
          </a:xfrm>
        </p:spPr>
        <p:txBody>
          <a:bodyPr/>
          <a:lstStyle/>
          <a:p>
            <a:r>
              <a:rPr lang="en-US" noProof="0" dirty="0"/>
              <a:t>Click here to insert headline in upper case letters</a:t>
            </a:r>
          </a:p>
        </p:txBody>
      </p:sp>
    </p:spTree>
    <p:extLst>
      <p:ext uri="{BB962C8B-B14F-4D97-AF65-F5344CB8AC3E}">
        <p14:creationId xmlns:p14="http://schemas.microsoft.com/office/powerpoint/2010/main" val="11115341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Rectangle 122"/>
          <p:cNvSpPr>
            <a:spLocks noGrp="1" noChangeArrowheads="1"/>
          </p:cNvSpPr>
          <p:nvPr>
            <p:ph idx="1" hasCustomPrompt="1"/>
          </p:nvPr>
        </p:nvSpPr>
        <p:spPr bwMode="gray">
          <a:xfrm>
            <a:off x="411956" y="2568223"/>
            <a:ext cx="6281738" cy="6278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dirty="0" err="1"/>
              <a:t>Ers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78654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6522272"/>
              </p:ext>
            </p:extLst>
          </p:nvPr>
        </p:nvGraphicFramePr>
        <p:xfrm>
          <a:off x="1191" y="2295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2295"/>
                        <a:ext cx="1190" cy="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310500" y="1669200"/>
            <a:ext cx="6237000" cy="2236000"/>
          </a:xfrm>
          <a:prstGeom prst="rect">
            <a:avLst/>
          </a:prstGeom>
        </p:spPr>
        <p:txBody>
          <a:bodyPr wrap="square" lIns="0" tIns="0" rIns="0" bIns="0" anchor="b" anchorCtr="0"/>
          <a:lstStyle>
            <a:lvl1pPr>
              <a:lnSpc>
                <a:spcPct val="90000"/>
              </a:lnSpc>
              <a:defRPr sz="6066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SAMPLE TITLE ONE OR</a:t>
            </a:r>
            <a:br>
              <a:rPr lang="en-US" dirty="0"/>
            </a:br>
            <a:r>
              <a:rPr lang="en-US" dirty="0"/>
              <a:t>TWO LINES, Arial, 4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meta-identifier"/>
          <p:cNvSpPr>
            <a:spLocks noGrp="1"/>
          </p:cNvSpPr>
          <p:nvPr>
            <p:ph type="body" sz="quarter" idx="4" hasCustomPrompt="1"/>
          </p:nvPr>
        </p:nvSpPr>
        <p:spPr bwMode="gray">
          <a:xfrm>
            <a:off x="310500" y="9063601"/>
            <a:ext cx="4536000" cy="270581"/>
          </a:xfrm>
          <a:prstGeom prst="rect">
            <a:avLst/>
          </a:prstGeom>
        </p:spPr>
        <p:txBody>
          <a:bodyPr lIns="0" tIns="0" rIns="0" bIns="0"/>
          <a:lstStyle>
            <a:lvl1pPr>
              <a:defRPr sz="1733" b="1"/>
            </a:lvl1pPr>
          </a:lstStyle>
          <a:p>
            <a:pPr lvl="0"/>
            <a:r>
              <a:rPr lang="en-US" dirty="0"/>
              <a:t>Business identifier</a:t>
            </a:r>
          </a:p>
        </p:txBody>
      </p:sp>
      <p:sp>
        <p:nvSpPr>
          <p:cNvPr id="2" name="meta-classification"/>
          <p:cNvSpPr>
            <a:spLocks noGrp="1"/>
          </p:cNvSpPr>
          <p:nvPr>
            <p:ph type="body" sz="quarter" idx="2" hasCustomPrompt="1"/>
          </p:nvPr>
        </p:nvSpPr>
        <p:spPr bwMode="gray">
          <a:xfrm>
            <a:off x="310500" y="1"/>
            <a:ext cx="3276538" cy="283663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320759" rtl="0" eaLnBrk="1" latinLnBrk="0" hangingPunct="1">
              <a:lnSpc>
                <a:spcPct val="100000"/>
              </a:lnSpc>
              <a:spcAft>
                <a:spcPts val="0"/>
              </a:spcAft>
              <a:defRPr lang="en-US" sz="13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1300" b="1" dirty="0">
                <a:solidFill>
                  <a:schemeClr val="accent1"/>
                </a:solidFill>
              </a:rPr>
              <a:t>PLEASE INSERT CLASSIFICATION HERE</a:t>
            </a:r>
          </a:p>
        </p:txBody>
      </p:sp>
      <p:pic>
        <p:nvPicPr>
          <p:cNvPr id="9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156766" y="8949212"/>
            <a:ext cx="1350000" cy="374858"/>
          </a:xfrm>
          <a:prstGeom prst="rect">
            <a:avLst/>
          </a:prstGeom>
          <a:noFill/>
        </p:spPr>
      </p:pic>
      <p:sp>
        <p:nvSpPr>
          <p:cNvPr id="5" name="meta-subline"/>
          <p:cNvSpPr>
            <a:spLocks noGrp="1"/>
          </p:cNvSpPr>
          <p:nvPr>
            <p:ph type="body" sz="quarter" idx="5" hasCustomPrompt="1"/>
          </p:nvPr>
        </p:nvSpPr>
        <p:spPr>
          <a:xfrm>
            <a:off x="310500" y="3905201"/>
            <a:ext cx="6237000" cy="53912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6800" rIns="0" bIns="4680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437702" rtl="0" eaLnBrk="0" fontAlgn="base" latinLnBrk="0" hangingPunct="0">
              <a:lnSpc>
                <a:spcPct val="100000"/>
              </a:lnSpc>
              <a:spcAft>
                <a:spcPts val="0"/>
              </a:spcAft>
              <a:defRPr sz="2889"/>
            </a:lvl1pPr>
            <a:lvl2pPr marL="0" algn="l" defTabSz="1437702" rtl="0" eaLnBrk="0" fontAlgn="base" latinLnBrk="0" hangingPunct="0">
              <a:spcAft>
                <a:spcPts val="2311"/>
              </a:spcAft>
              <a:defRPr lang="en-US" sz="2889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algn="l" defTabSz="1437702" rtl="0" eaLnBrk="0" fontAlgn="base" latinLnBrk="0" hangingPunct="0"/>
            <a:r>
              <a:rPr lang="en-US" dirty="0"/>
              <a:t>Subline in one or two lines, Arial, 2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meta-project"/>
          <p:cNvSpPr>
            <a:spLocks noGrp="1"/>
          </p:cNvSpPr>
          <p:nvPr>
            <p:ph type="body" sz="quarter" idx="3" hasCustomPrompt="1"/>
          </p:nvPr>
        </p:nvSpPr>
        <p:spPr>
          <a:xfrm>
            <a:off x="310500" y="4487600"/>
            <a:ext cx="6237000" cy="678757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44000" rIns="0" bIns="0" numCol="1" rtlCol="0" anchor="t" anchorCtr="0" compatLnSpc="1">
            <a:prstTxWarp prst="textNoShape">
              <a:avLst/>
            </a:prstTxWarp>
            <a:spAutoFit/>
          </a:bodyPr>
          <a:lstStyle>
            <a:lvl1pPr marL="0" algn="l" defTabSz="1320759" rtl="0" eaLnBrk="1" latinLnBrk="0" hangingPunct="1">
              <a:lnSpc>
                <a:spcPct val="100000"/>
              </a:lnSpc>
              <a:spcAft>
                <a:spcPts val="0"/>
              </a:spcAft>
              <a:defRPr lang="en-US" sz="1733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>
              <a:spcAft>
                <a:spcPts val="2311"/>
              </a:spcAft>
              <a:defRPr sz="2889" b="0" baseline="0"/>
            </a:lvl2pPr>
          </a:lstStyle>
          <a:p>
            <a:r>
              <a:rPr lang="en-US" dirty="0"/>
              <a:t>Name of the event or project or presenter, Arial 12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Location, ## Month ####</a:t>
            </a:r>
          </a:p>
        </p:txBody>
      </p:sp>
      <p:sp>
        <p:nvSpPr>
          <p:cNvPr id="6" name="meta-descriptor"/>
          <p:cNvSpPr>
            <a:spLocks noGrp="1"/>
          </p:cNvSpPr>
          <p:nvPr>
            <p:ph type="body" sz="quarter" idx="6" hasCustomPrompt="1"/>
          </p:nvPr>
        </p:nvSpPr>
        <p:spPr>
          <a:xfrm>
            <a:off x="310500" y="5267600"/>
            <a:ext cx="6237000" cy="494000"/>
          </a:xfrm>
        </p:spPr>
        <p:txBody>
          <a:bodyPr tIns="144000"/>
          <a:lstStyle>
            <a:lvl1pPr>
              <a:lnSpc>
                <a:spcPct val="100000"/>
              </a:lnSpc>
              <a:spcAft>
                <a:spcPts val="0"/>
              </a:spcAft>
              <a:defRPr sz="1733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DHL Business Unit – Business Unit Descriptor, Arial (bold), 12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0145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9965218"/>
              </p:ext>
            </p:extLst>
          </p:nvPr>
        </p:nvGraphicFramePr>
        <p:xfrm>
          <a:off x="1191" y="2295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2295"/>
                        <a:ext cx="1190" cy="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6858000" cy="9906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>
            <a:off x="135000" y="8595600"/>
            <a:ext cx="6588000" cy="104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44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310500" y="1430000"/>
            <a:ext cx="4689900" cy="29224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6066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section divider with image, </a:t>
            </a:r>
            <a:r>
              <a:rPr lang="en-US" dirty="0" err="1"/>
              <a:t>arial</a:t>
            </a:r>
            <a:r>
              <a:rPr lang="en-US" dirty="0"/>
              <a:t>, 42 pt</a:t>
            </a:r>
          </a:p>
        </p:txBody>
      </p:sp>
      <p:sp>
        <p:nvSpPr>
          <p:cNvPr id="22" name="Foliennummernplatzhalter 23"/>
          <p:cNvSpPr>
            <a:spLocks noGrp="1"/>
          </p:cNvSpPr>
          <p:nvPr>
            <p:ph type="sldNum" sz="quarter" idx="4"/>
          </p:nvPr>
        </p:nvSpPr>
        <p:spPr bwMode="gray">
          <a:xfrm>
            <a:off x="6277489" y="8991671"/>
            <a:ext cx="272147" cy="36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14377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444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31BFEC3E-84CF-48ED-9C8C-36C748C4BED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meta-classification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10500" y="1"/>
            <a:ext cx="3276538" cy="283663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320759" rtl="0" eaLnBrk="1" latinLnBrk="0" hangingPunct="1">
              <a:lnSpc>
                <a:spcPct val="100000"/>
              </a:lnSpc>
              <a:spcAft>
                <a:spcPts val="0"/>
              </a:spcAft>
              <a:defRPr lang="en-US" sz="13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1300" b="1" dirty="0">
                <a:solidFill>
                  <a:schemeClr val="accent1"/>
                </a:solidFill>
              </a:rPr>
              <a:t>PLEASE INSERT CLASSIFICATION HERE</a:t>
            </a:r>
            <a:endParaRPr lang="en-US" sz="1300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11" name="Text Placeholder 27"/>
          <p:cNvSpPr>
            <a:spLocks noGrp="1" noChangeAspect="1"/>
          </p:cNvSpPr>
          <p:nvPr>
            <p:ph type="body" sz="quarter" idx="22" hasCustomPrompt="1"/>
          </p:nvPr>
        </p:nvSpPr>
        <p:spPr bwMode="gray">
          <a:xfrm>
            <a:off x="310500" y="9068800"/>
            <a:ext cx="945000" cy="262398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44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.</a:t>
            </a:r>
          </a:p>
        </p:txBody>
      </p:sp>
      <p:sp>
        <p:nvSpPr>
          <p:cNvPr id="13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1606500" y="8991671"/>
            <a:ext cx="4671000" cy="364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kumimoji="0" lang="en-US" sz="1444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GB" dirty="0"/>
              <a:t>WMS Template Change Management|  | July 2015</a:t>
            </a:r>
          </a:p>
        </p:txBody>
      </p:sp>
    </p:spTree>
    <p:extLst>
      <p:ext uri="{BB962C8B-B14F-4D97-AF65-F5344CB8AC3E}">
        <p14:creationId xmlns:p14="http://schemas.microsoft.com/office/powerpoint/2010/main" val="39630300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picture, gradient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4125"/>
              </p:ext>
            </p:extLst>
          </p:nvPr>
        </p:nvGraphicFramePr>
        <p:xfrm>
          <a:off x="1191" y="2295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2295"/>
                        <a:ext cx="1190" cy="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33"/>
          <p:cNvSpPr>
            <a:spLocks noGrp="1"/>
          </p:cNvSpPr>
          <p:nvPr>
            <p:ph type="pic" sz="quarter" idx="12"/>
          </p:nvPr>
        </p:nvSpPr>
        <p:spPr bwMode="white">
          <a:xfrm>
            <a:off x="0" y="0"/>
            <a:ext cx="6858000" cy="9906000"/>
          </a:xfrm>
          <a:prstGeom prst="rect">
            <a:avLst/>
          </a:prstGeom>
          <a:solidFill>
            <a:schemeClr val="tx2"/>
          </a:solidFill>
        </p:spPr>
        <p:txBody>
          <a:bodyPr tIns="540000" anchor="ctr" anchorCtr="0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1"/>
          </p:nvPr>
        </p:nvSpPr>
        <p:spPr bwMode="hidden">
          <a:xfrm rot="10800000">
            <a:off x="135001" y="260000"/>
            <a:ext cx="6588000" cy="10400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</a:gradFill>
        </p:spPr>
        <p:txBody>
          <a:bodyPr anchor="b" anchorCtr="0"/>
          <a:lstStyle>
            <a:lvl1pPr>
              <a:defRPr sz="144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36"/>
          <p:cNvSpPr>
            <a:spLocks noGrp="1"/>
          </p:cNvSpPr>
          <p:nvPr>
            <p:ph type="title" hasCustomPrompt="1"/>
          </p:nvPr>
        </p:nvSpPr>
        <p:spPr bwMode="invGray">
          <a:xfrm>
            <a:off x="310500" y="2043600"/>
            <a:ext cx="4689900" cy="29224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6066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section divider with image, </a:t>
            </a:r>
            <a:r>
              <a:rPr lang="en-US" dirty="0" err="1"/>
              <a:t>arial</a:t>
            </a:r>
            <a:r>
              <a:rPr lang="en-US" dirty="0"/>
              <a:t>, 42 pt</a:t>
            </a:r>
          </a:p>
        </p:txBody>
      </p:sp>
      <p:sp>
        <p:nvSpPr>
          <p:cNvPr id="13" name="meta-classification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10500" y="9032401"/>
            <a:ext cx="3276538" cy="283663"/>
          </a:xfrm>
          <a:prstGeom prst="rect">
            <a:avLst/>
          </a:prstGeom>
          <a:noFill/>
          <a:ln>
            <a:noFill/>
          </a:ln>
        </p:spPr>
        <p:txBody>
          <a:bodyPr wrap="none" lIns="0" tIns="82800" rIns="0" bIns="0" rtlCol="0" anchor="t" anchorCtr="0">
            <a:spAutoFit/>
          </a:bodyPr>
          <a:lstStyle>
            <a:lvl1pPr marL="0" algn="l" defTabSz="1320759" rtl="0" eaLnBrk="1" latinLnBrk="0" hangingPunct="1">
              <a:lnSpc>
                <a:spcPct val="100000"/>
              </a:lnSpc>
              <a:spcAft>
                <a:spcPts val="0"/>
              </a:spcAft>
              <a:defRPr lang="en-US" sz="1300" b="1" kern="0" cap="all" baseline="0" dirty="0" smtClean="0">
                <a:solidFill>
                  <a:schemeClr val="accent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en-US" sz="1300" b="1" dirty="0">
                <a:solidFill>
                  <a:schemeClr val="accent1"/>
                </a:solidFill>
              </a:rPr>
              <a:t>PLEASE INSERT CLASSIFICATION HERE</a:t>
            </a:r>
            <a:endParaRPr lang="en-US" sz="1300" b="1" kern="0" cap="all" baseline="0" dirty="0">
              <a:solidFill>
                <a:schemeClr val="accent1"/>
              </a:solidFill>
              <a:cs typeface="Arial"/>
            </a:endParaRPr>
          </a:p>
        </p:txBody>
      </p:sp>
      <p:sp>
        <p:nvSpPr>
          <p:cNvPr id="9" name="Text Placeholder 27"/>
          <p:cNvSpPr>
            <a:spLocks noGrp="1" noChangeAspect="1"/>
          </p:cNvSpPr>
          <p:nvPr>
            <p:ph type="body" sz="quarter" idx="23" hasCustomPrompt="1"/>
          </p:nvPr>
        </p:nvSpPr>
        <p:spPr bwMode="gray">
          <a:xfrm>
            <a:off x="310500" y="533296"/>
            <a:ext cx="945000" cy="262398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txBody>
          <a:bodyPr wrap="none" lIns="0" tIns="0" rIns="0" bIns="0" anchor="t" anchorCtr="0"/>
          <a:lstStyle>
            <a:lvl1pPr>
              <a:defRPr sz="144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 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698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>
          <a:gsLst>
            <a:gs pos="0">
              <a:schemeClr val="accent3">
                <a:alpha val="30000"/>
              </a:schemeClr>
            </a:gs>
            <a:gs pos="87000">
              <a:schemeClr val="accent3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4215672"/>
              </p:ext>
            </p:extLst>
          </p:nvPr>
        </p:nvGraphicFramePr>
        <p:xfrm>
          <a:off x="1191" y="2295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2295"/>
                        <a:ext cx="1190" cy="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36"/>
          <p:cNvSpPr>
            <a:spLocks noGrp="1"/>
          </p:cNvSpPr>
          <p:nvPr>
            <p:ph type="title" hasCustomPrompt="1"/>
          </p:nvPr>
        </p:nvSpPr>
        <p:spPr bwMode="gray">
          <a:xfrm>
            <a:off x="310500" y="2496000"/>
            <a:ext cx="6196500" cy="2922400"/>
          </a:xfrm>
          <a:prstGeom prst="rect">
            <a:avLst/>
          </a:prstGeom>
        </p:spPr>
        <p:txBody>
          <a:bodyPr wrap="square" lIns="0" tIns="0" rIns="0" bIns="0" anchor="t" anchorCtr="0"/>
          <a:lstStyle>
            <a:lvl1pPr>
              <a:lnSpc>
                <a:spcPct val="90000"/>
              </a:lnSpc>
              <a:defRPr sz="6066" cap="all" baseline="0">
                <a:solidFill>
                  <a:srgbClr val="D40511"/>
                </a:solidFill>
              </a:defRPr>
            </a:lvl1pPr>
          </a:lstStyle>
          <a:p>
            <a:r>
              <a:rPr lang="en-US" dirty="0"/>
              <a:t>section divider with Gradient, Arial, 42 pt</a:t>
            </a:r>
          </a:p>
        </p:txBody>
      </p:sp>
      <p:sp>
        <p:nvSpPr>
          <p:cNvPr id="6" name="Rechteck 8"/>
          <p:cNvSpPr/>
          <p:nvPr/>
        </p:nvSpPr>
        <p:spPr bwMode="gray">
          <a:xfrm>
            <a:off x="6277500" y="8991671"/>
            <a:ext cx="272147" cy="36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14377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444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143770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444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310500" y="9068768"/>
            <a:ext cx="945000" cy="26263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1606500" y="8991671"/>
            <a:ext cx="4671000" cy="364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kumimoji="0" lang="en-US" sz="1444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GB" dirty="0"/>
              <a:t>WMS Template Change Management|  | July 2015</a:t>
            </a:r>
          </a:p>
        </p:txBody>
      </p:sp>
    </p:spTree>
    <p:extLst>
      <p:ext uri="{BB962C8B-B14F-4D97-AF65-F5344CB8AC3E}">
        <p14:creationId xmlns:p14="http://schemas.microsoft.com/office/powerpoint/2010/main" val="1967422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353982"/>
              </p:ext>
            </p:extLst>
          </p:nvPr>
        </p:nvGraphicFramePr>
        <p:xfrm>
          <a:off x="1191" y="2295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2295"/>
                        <a:ext cx="1190" cy="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1"/>
          <p:cNvSpPr/>
          <p:nvPr/>
        </p:nvSpPr>
        <p:spPr bwMode="hidden">
          <a:xfrm>
            <a:off x="134541" y="8597804"/>
            <a:ext cx="6588000" cy="104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000" tIns="208000" rIns="208000" bIns="2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4377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22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Rechteck 8"/>
          <p:cNvSpPr/>
          <p:nvPr/>
        </p:nvSpPr>
        <p:spPr bwMode="gray">
          <a:xfrm>
            <a:off x="6277500" y="8991671"/>
            <a:ext cx="272147" cy="36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14377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444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143770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444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9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10500" y="1804400"/>
            <a:ext cx="3037500" cy="6869200"/>
          </a:xfrm>
          <a:prstGeom prst="rect">
            <a:avLst/>
          </a:prstGeom>
        </p:spPr>
        <p:txBody>
          <a:bodyPr lIns="0" tIns="0" rIns="0" bIns="0"/>
          <a:lstStyle>
            <a:lvl1pPr marL="389988" marR="0" indent="-389988" algn="l" defTabSz="1320759" rtl="0" eaLnBrk="1" fontAlgn="auto" latinLnBrk="0" hangingPunct="1">
              <a:lnSpc>
                <a:spcPct val="100000"/>
              </a:lnSpc>
              <a:spcBef>
                <a:spcPts val="2022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2022" b="1" baseline="0"/>
            </a:lvl1pPr>
            <a:lvl2pPr marL="389988" marR="0" indent="0" algn="l" defTabSz="13207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22"/>
              </a:spcAft>
              <a:buClrTx/>
              <a:buSzTx/>
              <a:buFont typeface="Arial" pitchFamily="34" charset="0"/>
              <a:buNone/>
              <a:tabLst/>
              <a:defRPr sz="2022" b="0"/>
            </a:lvl2pPr>
            <a:lvl3pPr marL="259992" marR="0" indent="-259992" algn="l" defTabSz="132075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722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519984" marR="0" indent="-259992" algn="l" defTabSz="132075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722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770443" marR="0" indent="-252228" algn="l" defTabSz="132075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722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</p:txBody>
      </p:sp>
      <p:sp>
        <p:nvSpPr>
          <p:cNvPr id="32" name="Text Placeholder 9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510000" y="1804400"/>
            <a:ext cx="3037500" cy="6869200"/>
          </a:xfrm>
          <a:prstGeom prst="rect">
            <a:avLst/>
          </a:prstGeom>
        </p:spPr>
        <p:txBody>
          <a:bodyPr lIns="0" tIns="0" rIns="0" bIns="0"/>
          <a:lstStyle>
            <a:lvl1pPr marL="385221" marR="0" indent="-385221" algn="l" defTabSz="1320759" rtl="0" eaLnBrk="1" fontAlgn="auto" latinLnBrk="0" hangingPunct="1">
              <a:lnSpc>
                <a:spcPct val="100000"/>
              </a:lnSpc>
              <a:spcBef>
                <a:spcPts val="2022"/>
              </a:spcBef>
              <a:spcAft>
                <a:spcPts val="0"/>
              </a:spcAft>
              <a:buClrTx/>
              <a:buSzTx/>
              <a:buFont typeface="Wingdings" pitchFamily="2" charset="2"/>
              <a:buAutoNum type="arabicPlain" startAt="7"/>
              <a:tabLst/>
              <a:defRPr sz="2022" b="1" baseline="0"/>
            </a:lvl1pPr>
            <a:lvl2pPr marL="389988" marR="0" indent="0" algn="l" defTabSz="13207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22"/>
              </a:spcAft>
              <a:buClrTx/>
              <a:buSzTx/>
              <a:buFont typeface="Arial" pitchFamily="34" charset="0"/>
              <a:buNone/>
              <a:tabLst/>
              <a:defRPr sz="2022" b="0"/>
            </a:lvl2pPr>
            <a:lvl3pPr marL="259992" marR="0" indent="-259992" algn="l" defTabSz="132075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722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519984" marR="0" indent="-259992" algn="l" defTabSz="132075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722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770443" marR="0" indent="-252228" algn="l" defTabSz="132075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722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310500" y="291200"/>
            <a:ext cx="6237000" cy="1029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4" name="Straight Connector 10"/>
          <p:cNvCxnSpPr/>
          <p:nvPr/>
        </p:nvCxnSpPr>
        <p:spPr bwMode="gray">
          <a:xfrm>
            <a:off x="310500" y="1466400"/>
            <a:ext cx="6237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310500" y="9068768"/>
            <a:ext cx="945000" cy="262633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1606500" y="8991671"/>
            <a:ext cx="4671000" cy="364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kumimoji="0" lang="en-US" sz="1444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GB" dirty="0"/>
              <a:t>WMS Template Change Management|  | July 2015</a:t>
            </a:r>
          </a:p>
        </p:txBody>
      </p:sp>
    </p:spTree>
    <p:extLst>
      <p:ext uri="{BB962C8B-B14F-4D97-AF65-F5344CB8AC3E}">
        <p14:creationId xmlns:p14="http://schemas.microsoft.com/office/powerpoint/2010/main" val="5790598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1 column,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8005231"/>
              </p:ext>
            </p:extLst>
          </p:nvPr>
        </p:nvGraphicFramePr>
        <p:xfrm>
          <a:off x="1192" y="2295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2295"/>
                        <a:ext cx="1190" cy="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hteck 11"/>
          <p:cNvSpPr/>
          <p:nvPr/>
        </p:nvSpPr>
        <p:spPr bwMode="hidden">
          <a:xfrm>
            <a:off x="134541" y="8597804"/>
            <a:ext cx="6588000" cy="104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000" tIns="208000" rIns="208000" bIns="2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4377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22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/>
          </p:nvPr>
        </p:nvSpPr>
        <p:spPr bwMode="ltGray">
          <a:xfrm>
            <a:off x="2861557" y="6836415"/>
            <a:ext cx="1162050" cy="1570744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132075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722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3"/>
          </p:nvPr>
        </p:nvSpPr>
        <p:spPr bwMode="ltGray">
          <a:xfrm>
            <a:off x="4124577" y="6836415"/>
            <a:ext cx="1162050" cy="1570744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132075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722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5"/>
          </p:nvPr>
        </p:nvSpPr>
        <p:spPr bwMode="ltGray">
          <a:xfrm>
            <a:off x="5387597" y="6836415"/>
            <a:ext cx="1162050" cy="1570744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132075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722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861615" y="6548650"/>
            <a:ext cx="1162050" cy="286948"/>
          </a:xfrm>
          <a:prstGeom prst="rect">
            <a:avLst/>
          </a:prstGeom>
        </p:spPr>
        <p:txBody>
          <a:bodyPr lIns="0" tIns="0" rIns="0" bIns="0"/>
          <a:lstStyle>
            <a:lvl1pPr>
              <a:defRPr sz="1444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124606" y="6548650"/>
            <a:ext cx="1162050" cy="286948"/>
          </a:xfrm>
          <a:prstGeom prst="rect">
            <a:avLst/>
          </a:prstGeom>
        </p:spPr>
        <p:txBody>
          <a:bodyPr lIns="0" tIns="0" rIns="0" bIns="0"/>
          <a:lstStyle>
            <a:lvl1pPr>
              <a:defRPr sz="1444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387597" y="6548650"/>
            <a:ext cx="1162050" cy="286948"/>
          </a:xfrm>
          <a:prstGeom prst="rect">
            <a:avLst/>
          </a:prstGeom>
        </p:spPr>
        <p:txBody>
          <a:bodyPr lIns="0" tIns="0" rIns="0" bIns="0"/>
          <a:lstStyle>
            <a:lvl1pPr>
              <a:defRPr sz="1444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41" name="Rechteck 8"/>
          <p:cNvSpPr/>
          <p:nvPr/>
        </p:nvSpPr>
        <p:spPr bwMode="gray">
          <a:xfrm>
            <a:off x="6277500" y="8991671"/>
            <a:ext cx="272147" cy="36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14377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444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143770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444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37" name="Text Placeholder 9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10500" y="1804400"/>
            <a:ext cx="3037500" cy="45197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89988" marR="0" indent="-389988" algn="l" defTabSz="1320759" rtl="0" eaLnBrk="1" fontAlgn="auto" latinLnBrk="0" hangingPunct="1">
              <a:lnSpc>
                <a:spcPct val="100000"/>
              </a:lnSpc>
              <a:spcBef>
                <a:spcPts val="2022"/>
              </a:spcBef>
              <a:spcAft>
                <a:spcPts val="0"/>
              </a:spcAft>
              <a:buClrTx/>
              <a:buSzTx/>
              <a:buFont typeface="Arial" pitchFamily="34" charset="0"/>
              <a:buAutoNum type="arabicPlain"/>
              <a:tabLst/>
              <a:defRPr sz="2022" b="1" baseline="0"/>
            </a:lvl1pPr>
            <a:lvl2pPr marL="389988" marR="0" indent="0" algn="l" defTabSz="13207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722"/>
              </a:spcAft>
              <a:buClrTx/>
              <a:buSzTx/>
              <a:buFont typeface="Arial" pitchFamily="34" charset="0"/>
              <a:buNone/>
              <a:tabLst/>
              <a:defRPr sz="2022" b="0"/>
            </a:lvl2pPr>
            <a:lvl3pPr marL="259992" marR="0" indent="-259992" algn="l" defTabSz="132075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722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519984" marR="0" indent="-259992" algn="l" defTabSz="132075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722"/>
              </a:spcAft>
              <a:buClrTx/>
              <a:buSzTx/>
              <a:buFont typeface="Symbol" pitchFamily="18" charset="2"/>
              <a:buChar char="-"/>
              <a:tabLst/>
              <a:defRPr/>
            </a:lvl4pPr>
            <a:lvl5pPr marL="770443" marR="0" indent="-252228" algn="l" defTabSz="132075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722"/>
              </a:spcAft>
              <a:buClrTx/>
              <a:buSzTx/>
              <a:buFont typeface="Symbol" charset="2"/>
              <a:buChar char="-"/>
              <a:tabLst/>
              <a:defRPr/>
            </a:lvl5pPr>
          </a:lstStyle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  <a:p>
            <a:r>
              <a:rPr lang="en-US" dirty="0"/>
              <a:t>Sample section</a:t>
            </a:r>
          </a:p>
          <a:p>
            <a:pPr lvl="1"/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</a:t>
            </a:r>
            <a:r>
              <a:rPr lang="en-US" dirty="0" err="1"/>
              <a:t>dolore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consista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3"/>
          </p:nvPr>
        </p:nvSpPr>
        <p:spPr bwMode="ltGray">
          <a:xfrm>
            <a:off x="1598537" y="6836415"/>
            <a:ext cx="1162050" cy="1570744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marR="0" indent="0" algn="l" defTabSz="1320759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722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2" name="Text Placeholder 14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598624" y="6548650"/>
            <a:ext cx="1162050" cy="286948"/>
          </a:xfrm>
          <a:prstGeom prst="rect">
            <a:avLst/>
          </a:prstGeom>
        </p:spPr>
        <p:txBody>
          <a:bodyPr lIns="0" tIns="0" rIns="0" bIns="0"/>
          <a:lstStyle>
            <a:lvl1pPr>
              <a:defRPr sz="1444" b="0"/>
            </a:lvl1pPr>
          </a:lstStyle>
          <a:p>
            <a:pPr lvl="0"/>
            <a:r>
              <a:rPr lang="en-US" dirty="0"/>
              <a:t>Section #</a:t>
            </a:r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23" name="Straight Connector 10"/>
          <p:cNvCxnSpPr/>
          <p:nvPr/>
        </p:nvCxnSpPr>
        <p:spPr bwMode="gray">
          <a:xfrm>
            <a:off x="310500" y="1466400"/>
            <a:ext cx="6237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310500" y="9068768"/>
            <a:ext cx="945000" cy="262633"/>
          </a:xfrm>
          <a:prstGeom prst="rect">
            <a:avLst/>
          </a:prstGeom>
          <a:noFill/>
          <a:ln>
            <a:noFill/>
          </a:ln>
        </p:spPr>
      </p:pic>
      <p:sp>
        <p:nvSpPr>
          <p:cNvPr id="25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1606500" y="8991671"/>
            <a:ext cx="4671000" cy="364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kumimoji="0" lang="en-US" sz="1444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GB" dirty="0"/>
              <a:t>WMS Template Change Management|  | July 2015</a:t>
            </a:r>
          </a:p>
        </p:txBody>
      </p:sp>
    </p:spTree>
    <p:extLst>
      <p:ext uri="{BB962C8B-B14F-4D97-AF65-F5344CB8AC3E}">
        <p14:creationId xmlns:p14="http://schemas.microsoft.com/office/powerpoint/2010/main" val="18058398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6300738"/>
              </p:ext>
            </p:extLst>
          </p:nvPr>
        </p:nvGraphicFramePr>
        <p:xfrm>
          <a:off x="1191" y="2295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2295"/>
                        <a:ext cx="1190" cy="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11"/>
          <p:cNvSpPr/>
          <p:nvPr/>
        </p:nvSpPr>
        <p:spPr bwMode="hidden">
          <a:xfrm>
            <a:off x="134541" y="8597804"/>
            <a:ext cx="6588000" cy="1040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  <a:gs pos="36000">
                <a:schemeClr val="accent3">
                  <a:alpha val="77000"/>
                </a:schemeClr>
              </a:gs>
              <a:gs pos="52000">
                <a:schemeClr val="accent3">
                  <a:alpha val="90000"/>
                </a:schemeClr>
              </a:gs>
              <a:gs pos="74000">
                <a:schemeClr val="accent3"/>
              </a:gs>
            </a:gsLst>
            <a:lin ang="540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8000" tIns="208000" rIns="208000" bIns="2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14377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22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Rechteck 8"/>
          <p:cNvSpPr/>
          <p:nvPr/>
        </p:nvSpPr>
        <p:spPr bwMode="gray">
          <a:xfrm>
            <a:off x="6277500" y="8991671"/>
            <a:ext cx="272147" cy="36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r" defTabSz="14377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fld id="{2E45E626-985F-4F96-B1C4-178AC390C14C}" type="slidenum">
              <a:rPr kumimoji="0" lang="en-US" sz="1444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rPr>
              <a:pPr marL="0" marR="0" indent="0" algn="r" defTabSz="143770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t>‹#›</a:t>
            </a:fld>
            <a:endParaRPr kumimoji="0" lang="en-US" sz="1444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platzhalter 18"/>
          <p:cNvSpPr>
            <a:spLocks noGrp="1"/>
          </p:cNvSpPr>
          <p:nvPr>
            <p:ph type="body" sz="quarter" idx="32"/>
          </p:nvPr>
        </p:nvSpPr>
        <p:spPr>
          <a:xfrm>
            <a:off x="310754" y="1804400"/>
            <a:ext cx="6236494" cy="6869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6" name="Straight Connector 10"/>
          <p:cNvCxnSpPr/>
          <p:nvPr/>
        </p:nvCxnSpPr>
        <p:spPr bwMode="gray">
          <a:xfrm>
            <a:off x="310500" y="1466400"/>
            <a:ext cx="6237000" cy="0"/>
          </a:xfrm>
          <a:prstGeom prst="line">
            <a:avLst/>
          </a:prstGeom>
          <a:ln w="12700" cmpd="sng">
            <a:solidFill>
              <a:srgbClr val="D4051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3" descr="C:\MyData\Docs\01_Presentations in Progress\27183_Template2010\20140402_Formatted_Templates\DHL_rgb_BG.png"/>
          <p:cNvPicPr>
            <a:picLocks noChangeAspect="1" noChangeArrowheads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310500" y="9068768"/>
            <a:ext cx="945000" cy="262633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1606500" y="8991671"/>
            <a:ext cx="4671000" cy="364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kumimoji="0" lang="en-US" sz="1444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GB" dirty="0"/>
              <a:t>WMS Template Change Management|  | July 2015</a:t>
            </a:r>
          </a:p>
        </p:txBody>
      </p:sp>
    </p:spTree>
    <p:extLst>
      <p:ext uri="{BB962C8B-B14F-4D97-AF65-F5344CB8AC3E}">
        <p14:creationId xmlns:p14="http://schemas.microsoft.com/office/powerpoint/2010/main" val="24001356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107108158"/>
              </p:ext>
            </p:extLst>
          </p:nvPr>
        </p:nvGraphicFramePr>
        <p:xfrm>
          <a:off x="1191" y="2295"/>
          <a:ext cx="1190" cy="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32" name="Objek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2295"/>
                        <a:ext cx="1190" cy="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elplatzhalter 33"/>
          <p:cNvSpPr>
            <a:spLocks noGrp="1"/>
          </p:cNvSpPr>
          <p:nvPr>
            <p:ph type="title"/>
          </p:nvPr>
        </p:nvSpPr>
        <p:spPr>
          <a:xfrm>
            <a:off x="310500" y="291200"/>
            <a:ext cx="6237000" cy="10296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1" name="Textplatzhalter 60"/>
          <p:cNvSpPr>
            <a:spLocks noGrp="1"/>
          </p:cNvSpPr>
          <p:nvPr>
            <p:ph type="body" idx="1"/>
          </p:nvPr>
        </p:nvSpPr>
        <p:spPr>
          <a:xfrm>
            <a:off x="310500" y="1804398"/>
            <a:ext cx="6237000" cy="68692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25" name="dpic_guideLines" hidden="1"/>
          <p:cNvGrpSpPr/>
          <p:nvPr/>
        </p:nvGrpSpPr>
        <p:grpSpPr>
          <a:xfrm>
            <a:off x="-8334" y="0"/>
            <a:ext cx="6859190" cy="9906000"/>
            <a:chOff x="-1587" y="0"/>
            <a:chExt cx="9145587" cy="6858000"/>
          </a:xfrm>
        </p:grpSpPr>
        <p:cxnSp>
          <p:nvCxnSpPr>
            <p:cNvPr id="26" name="Straight Connector 56" hidden="1"/>
            <p:cNvCxnSpPr/>
            <p:nvPr/>
          </p:nvCxnSpPr>
          <p:spPr bwMode="gray">
            <a:xfrm>
              <a:off x="188129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7" name="Straight Connector 53" hidden="1"/>
            <p:cNvCxnSpPr/>
            <p:nvPr/>
          </p:nvCxnSpPr>
          <p:spPr bwMode="gray">
            <a:xfrm>
              <a:off x="8973524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" name="Straight Connector 43" hidden="1"/>
            <p:cNvCxnSpPr/>
            <p:nvPr/>
          </p:nvCxnSpPr>
          <p:spPr bwMode="gray">
            <a:xfrm>
              <a:off x="468735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44" hidden="1"/>
            <p:cNvCxnSpPr/>
            <p:nvPr/>
          </p:nvCxnSpPr>
          <p:spPr bwMode="gray">
            <a:xfrm>
              <a:off x="4480667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45" hidden="1"/>
            <p:cNvCxnSpPr/>
            <p:nvPr/>
          </p:nvCxnSpPr>
          <p:spPr bwMode="gray">
            <a:xfrm flipH="1">
              <a:off x="-1587" y="6675438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46" hidden="1"/>
            <p:cNvCxnSpPr/>
            <p:nvPr/>
          </p:nvCxnSpPr>
          <p:spPr bwMode="gray">
            <a:xfrm flipH="1">
              <a:off x="-1587" y="6450013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47" hidden="1"/>
            <p:cNvCxnSpPr/>
            <p:nvPr/>
          </p:nvCxnSpPr>
          <p:spPr bwMode="gray">
            <a:xfrm flipH="1">
              <a:off x="-1587" y="6004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8" hidden="1"/>
            <p:cNvCxnSpPr/>
            <p:nvPr/>
          </p:nvCxnSpPr>
          <p:spPr bwMode="gray">
            <a:xfrm flipH="1">
              <a:off x="0" y="1252874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50" hidden="1"/>
            <p:cNvCxnSpPr/>
            <p:nvPr/>
          </p:nvCxnSpPr>
          <p:spPr bwMode="gray">
            <a:xfrm flipH="1">
              <a:off x="-1587" y="8543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51" hidden="1"/>
            <p:cNvCxnSpPr/>
            <p:nvPr/>
          </p:nvCxnSpPr>
          <p:spPr bwMode="gray">
            <a:xfrm flipH="1">
              <a:off x="-1587" y="55642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5" name="Straight Connector 52" hidden="1"/>
            <p:cNvCxnSpPr/>
            <p:nvPr/>
          </p:nvCxnSpPr>
          <p:spPr bwMode="gray">
            <a:xfrm flipH="1">
              <a:off x="-1587" y="5626800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6" name="Straight Connector 38" hidden="1"/>
            <p:cNvCxnSpPr/>
            <p:nvPr/>
          </p:nvCxnSpPr>
          <p:spPr bwMode="gray">
            <a:xfrm>
              <a:off x="2088000" y="6107185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7" name="Straight Connector 57" hidden="1"/>
            <p:cNvCxnSpPr/>
            <p:nvPr/>
          </p:nvCxnSpPr>
          <p:spPr bwMode="gray">
            <a:xfrm>
              <a:off x="8379525" y="6108143"/>
              <a:ext cx="0" cy="342041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8" name="Straight Connector 22" hidden="1"/>
            <p:cNvCxnSpPr/>
            <p:nvPr/>
          </p:nvCxnSpPr>
          <p:spPr bwMode="gray">
            <a:xfrm flipH="1">
              <a:off x="468000" y="1021575"/>
              <a:ext cx="8208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9" name="Straight Connector 51" hidden="1"/>
            <p:cNvCxnSpPr/>
            <p:nvPr/>
          </p:nvCxnSpPr>
          <p:spPr bwMode="gray">
            <a:xfrm flipH="1">
              <a:off x="0" y="375562"/>
              <a:ext cx="914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1" name="Straight Connector 51" hidden="1"/>
            <p:cNvCxnSpPr/>
            <p:nvPr/>
          </p:nvCxnSpPr>
          <p:spPr bwMode="gray">
            <a:xfrm flipH="1">
              <a:off x="4680000" y="846000"/>
              <a:ext cx="4464000" cy="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2" name="Straight Connector 55" hidden="1"/>
            <p:cNvCxnSpPr/>
            <p:nvPr/>
          </p:nvCxnSpPr>
          <p:spPr bwMode="gray">
            <a:xfrm>
              <a:off x="423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3" name="Straight Connector 54" hidden="1"/>
            <p:cNvCxnSpPr/>
            <p:nvPr/>
          </p:nvCxnSpPr>
          <p:spPr bwMode="gray">
            <a:xfrm>
              <a:off x="8739525" y="0"/>
              <a:ext cx="0" cy="6858000"/>
            </a:xfrm>
            <a:prstGeom prst="line">
              <a:avLst/>
            </a:prstGeom>
            <a:solidFill>
              <a:schemeClr val="bg1"/>
            </a:solidFill>
            <a:ln w="6350" cap="flat" cmpd="sng" algn="ctr">
              <a:solidFill>
                <a:srgbClr val="0070C0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0" name="Foliennummernplatzhalter 29"/>
          <p:cNvSpPr>
            <a:spLocks noGrp="1"/>
          </p:cNvSpPr>
          <p:nvPr>
            <p:ph type="sldNum" sz="quarter" idx="4"/>
          </p:nvPr>
        </p:nvSpPr>
        <p:spPr>
          <a:xfrm>
            <a:off x="6277500" y="8991671"/>
            <a:ext cx="272147" cy="36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b" anchorCtr="0" compatLnSpc="1">
            <a:prstTxWarp prst="textNoShape">
              <a:avLst/>
            </a:prstTxWarp>
          </a:bodyPr>
          <a:lstStyle>
            <a:lvl1pPr marL="0" marR="0" indent="0" algn="r" defTabSz="14377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kumimoji="0" lang="en-US" sz="1444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fld id="{610A7141-4479-40B7-966D-BCE9989F046D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33" name="Fußzeilenplatzhalter 27"/>
          <p:cNvSpPr>
            <a:spLocks noGrp="1"/>
          </p:cNvSpPr>
          <p:nvPr>
            <p:ph type="ftr" sz="quarter" idx="3"/>
          </p:nvPr>
        </p:nvSpPr>
        <p:spPr>
          <a:xfrm>
            <a:off x="1606500" y="8991671"/>
            <a:ext cx="4671000" cy="364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ctr">
              <a:defRPr kumimoji="0" lang="en-US" sz="1444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GB" dirty="0"/>
              <a:t>WMS Template Change Management|  | July 2015</a:t>
            </a:r>
          </a:p>
        </p:txBody>
      </p:sp>
      <p:sp>
        <p:nvSpPr>
          <p:cNvPr id="2" name="MSIPCMContentMarking" descr="{&quot;HashCode&quot;:905108722,&quot;Placement&quot;:&quot;Header&quot;,&quot;Top&quot;:0.0,&quot;Left&quot;:0.0,&quot;SlideWidth&quot;:540,&quot;SlideHeight&quot;:780}"/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cs-CZ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  <a:endParaRPr lang="cs-CZ" sz="1000" dirty="0" err="1">
              <a:solidFill>
                <a:srgbClr val="747474"/>
              </a:solidFill>
              <a:latin typeface="Delivery" panose="020F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7727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21" r:id="rId19"/>
    <p:sldLayoutId id="2147483722" r:id="rId20"/>
    <p:sldLayoutId id="2147483723" r:id="rId21"/>
  </p:sldLayoutIdLst>
  <p:hf hdr="0" dt="0"/>
  <p:txStyles>
    <p:titleStyle>
      <a:lvl1pPr algn="l" defTabSz="1320759" rtl="0" eaLnBrk="1" latinLnBrk="0" hangingPunct="1">
        <a:lnSpc>
          <a:spcPct val="100000"/>
        </a:lnSpc>
        <a:spcBef>
          <a:spcPct val="0"/>
        </a:spcBef>
        <a:buNone/>
        <a:defRPr sz="2889" kern="1200" cap="none" normalizeH="0" baseline="0">
          <a:solidFill>
            <a:srgbClr val="D4051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1320759" rtl="0" eaLnBrk="1" fontAlgn="auto" latinLnBrk="0" hangingPunct="1">
        <a:lnSpc>
          <a:spcPct val="110000"/>
        </a:lnSpc>
        <a:spcBef>
          <a:spcPts val="0"/>
        </a:spcBef>
        <a:spcAft>
          <a:spcPts val="722"/>
        </a:spcAft>
        <a:buClrTx/>
        <a:buSzTx/>
        <a:buFont typeface="Arial" pitchFamily="34" charset="0"/>
        <a:buNone/>
        <a:tabLst/>
        <a:defRPr kumimoji="0" lang="de-DE" sz="2022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259992" marR="0" indent="-259992" algn="l" defTabSz="1320759" rtl="0" eaLnBrk="1" fontAlgn="auto" latinLnBrk="0" hangingPunct="1">
        <a:lnSpc>
          <a:spcPct val="110000"/>
        </a:lnSpc>
        <a:spcBef>
          <a:spcPts val="0"/>
        </a:spcBef>
        <a:spcAft>
          <a:spcPts val="722"/>
        </a:spcAft>
        <a:buClrTx/>
        <a:buSzTx/>
        <a:buFont typeface="Arial" pitchFamily="34" charset="0"/>
        <a:buChar char="•"/>
        <a:tabLst/>
        <a:defRPr kumimoji="0" lang="de-DE" sz="2022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2pPr>
      <a:lvl3pPr marL="519984" marR="0" indent="-259992" algn="l" defTabSz="1320759" rtl="0" eaLnBrk="1" fontAlgn="auto" latinLnBrk="0" hangingPunct="1">
        <a:lnSpc>
          <a:spcPct val="110000"/>
        </a:lnSpc>
        <a:spcBef>
          <a:spcPts val="0"/>
        </a:spcBef>
        <a:spcAft>
          <a:spcPts val="722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2022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3pPr>
      <a:lvl4pPr marL="779976" marR="0" indent="-259992" algn="l" defTabSz="1320759" rtl="0" eaLnBrk="1" fontAlgn="auto" latinLnBrk="0" hangingPunct="1">
        <a:lnSpc>
          <a:spcPct val="110000"/>
        </a:lnSpc>
        <a:spcBef>
          <a:spcPts val="0"/>
        </a:spcBef>
        <a:spcAft>
          <a:spcPts val="722"/>
        </a:spcAft>
        <a:buClr>
          <a:schemeClr val="tx1"/>
        </a:buClr>
        <a:buSzTx/>
        <a:buFont typeface="Arial" pitchFamily="34" charset="0"/>
        <a:buChar char="–"/>
        <a:tabLst/>
        <a:defRPr kumimoji="0" lang="de-DE" sz="2022" b="0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4pPr>
      <a:lvl5pPr marL="0" marR="0" indent="0" algn="l" defTabSz="1320759" rtl="0" eaLnBrk="1" fontAlgn="auto" latinLnBrk="0" hangingPunct="1">
        <a:lnSpc>
          <a:spcPct val="100000"/>
        </a:lnSpc>
        <a:spcBef>
          <a:spcPts val="0"/>
        </a:spcBef>
        <a:spcAft>
          <a:spcPts val="2022"/>
        </a:spcAft>
        <a:buClr>
          <a:schemeClr val="tx1"/>
        </a:buClr>
        <a:buSzTx/>
        <a:buFontTx/>
        <a:buNone/>
        <a:tabLst/>
        <a:defRPr kumimoji="0" lang="en-US" sz="2600" b="1" i="0" u="none" strike="noStrike" kern="1200" cap="none" spc="0" normalizeH="0" baseline="0" noProof="0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5pPr>
      <a:lvl6pPr marL="3632088" indent="-330190" algn="l" defTabSz="1320759" rtl="0" eaLnBrk="1" latinLnBrk="0" hangingPunct="1">
        <a:spcBef>
          <a:spcPct val="20000"/>
        </a:spcBef>
        <a:buFont typeface="Arial" pitchFamily="34" charset="0"/>
        <a:buChar char="•"/>
        <a:defRPr sz="2889" kern="1200">
          <a:solidFill>
            <a:schemeClr val="tx1"/>
          </a:solidFill>
          <a:latin typeface="+mn-lt"/>
          <a:ea typeface="+mn-ea"/>
          <a:cs typeface="+mn-cs"/>
        </a:defRPr>
      </a:lvl6pPr>
      <a:lvl7pPr marL="4292468" indent="-330190" algn="l" defTabSz="1320759" rtl="0" eaLnBrk="1" latinLnBrk="0" hangingPunct="1">
        <a:spcBef>
          <a:spcPct val="20000"/>
        </a:spcBef>
        <a:buFont typeface="Arial" pitchFamily="34" charset="0"/>
        <a:buChar char="•"/>
        <a:defRPr sz="2889" kern="1200">
          <a:solidFill>
            <a:schemeClr val="tx1"/>
          </a:solidFill>
          <a:latin typeface="+mn-lt"/>
          <a:ea typeface="+mn-ea"/>
          <a:cs typeface="+mn-cs"/>
        </a:defRPr>
      </a:lvl7pPr>
      <a:lvl8pPr marL="4952848" indent="-330190" algn="l" defTabSz="1320759" rtl="0" eaLnBrk="1" latinLnBrk="0" hangingPunct="1">
        <a:spcBef>
          <a:spcPct val="20000"/>
        </a:spcBef>
        <a:buFont typeface="Arial" pitchFamily="34" charset="0"/>
        <a:buChar char="•"/>
        <a:defRPr sz="2889" kern="1200">
          <a:solidFill>
            <a:schemeClr val="tx1"/>
          </a:solidFill>
          <a:latin typeface="+mn-lt"/>
          <a:ea typeface="+mn-ea"/>
          <a:cs typeface="+mn-cs"/>
        </a:defRPr>
      </a:lvl8pPr>
      <a:lvl9pPr marL="5613227" indent="-330190" algn="l" defTabSz="1320759" rtl="0" eaLnBrk="1" latinLnBrk="0" hangingPunct="1">
        <a:spcBef>
          <a:spcPct val="20000"/>
        </a:spcBef>
        <a:buFont typeface="Arial" pitchFamily="34" charset="0"/>
        <a:buChar char="•"/>
        <a:defRPr sz="288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60380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2075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8113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41519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30189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27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622658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83037" algn="l" defTabSz="1320759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image" Target="../media/image6.png"/><Relationship Id="rId7" Type="http://schemas.openxmlformats.org/officeDocument/2006/relationships/image" Target="../media/image9.svg"/><Relationship Id="rId12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microsoft.com/office/2007/relationships/hdphoto" Target="../media/hdphoto1.wdp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3" Type="http://schemas.openxmlformats.org/officeDocument/2006/relationships/image" Target="../media/image6.png"/><Relationship Id="rId7" Type="http://schemas.openxmlformats.org/officeDocument/2006/relationships/image" Target="../media/image9.svg"/><Relationship Id="rId12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microsoft.com/office/2007/relationships/hdphoto" Target="../media/hdphoto1.wdp"/><Relationship Id="rId9" Type="http://schemas.openxmlformats.org/officeDocument/2006/relationships/image" Target="../media/image11.svg"/><Relationship Id="rId1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Obrázek 17">
            <a:extLst>
              <a:ext uri="{FF2B5EF4-FFF2-40B4-BE49-F238E27FC236}">
                <a16:creationId xmlns:a16="http://schemas.microsoft.com/office/drawing/2014/main" id="{A33BB596-C1CF-ED79-664B-5FB3EB5047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555" y="-21949"/>
            <a:ext cx="6861556" cy="1122616"/>
          </a:xfrm>
          <a:prstGeom prst="rect">
            <a:avLst/>
          </a:prstGeom>
        </p:spPr>
      </p:pic>
      <p:pic>
        <p:nvPicPr>
          <p:cNvPr id="15" name="Obrázek 14" descr="Obsah obrázku text, osoba, oblečení, kreslené&#10;&#10;Popis byl vytvořen automaticky">
            <a:extLst>
              <a:ext uri="{FF2B5EF4-FFF2-40B4-BE49-F238E27FC236}">
                <a16:creationId xmlns:a16="http://schemas.microsoft.com/office/drawing/2014/main" id="{795024BC-E3BC-E54A-65CC-F77C48DFC4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8750" l="417" r="98750">
                        <a14:foregroundMark x1="208" y1="34583" x2="10208" y2="38750"/>
                        <a14:foregroundMark x1="15610" y1="36458" x2="17083" y2="35833"/>
                        <a14:foregroundMark x1="15060" y1="36691" x2="15610" y2="36458"/>
                        <a14:foregroundMark x1="10208" y1="38750" x2="11540" y2="38185"/>
                        <a14:foregroundMark x1="20051" y1="36458" x2="25000" y2="37500"/>
                        <a14:foregroundMark x1="17083" y1="35833" x2="20051" y2="36458"/>
                        <a14:foregroundMark x1="30689" y1="44205" x2="30833" y2="44375"/>
                        <a14:foregroundMark x1="25000" y1="37500" x2="25921" y2="38585"/>
                        <a14:foregroundMark x1="53515" y1="49209" x2="56250" y2="49792"/>
                        <a14:foregroundMark x1="40056" y1="46341" x2="40267" y2="46386"/>
                        <a14:foregroundMark x1="30833" y1="44375" x2="35200" y2="45306"/>
                        <a14:foregroundMark x1="56250" y1="49792" x2="72020" y2="43454"/>
                        <a14:foregroundMark x1="99783" y1="33766" x2="99375" y2="99792"/>
                        <a14:foregroundMark x1="99375" y1="99792" x2="3958" y2="99792"/>
                        <a14:foregroundMark x1="3958" y1="99792" x2="417" y2="35625"/>
                        <a14:foregroundMark x1="417" y1="35625" x2="625" y2="35625"/>
                        <a14:foregroundMark x1="94323" y1="39492" x2="99375" y2="55625"/>
                        <a14:foregroundMark x1="99375" y1="55625" x2="99375" y2="99583"/>
                        <a14:foregroundMark x1="99375" y1="99583" x2="833" y2="98750"/>
                        <a14:foregroundMark x1="833" y1="98750" x2="2500" y2="93333"/>
                        <a14:foregroundMark x1="64583" y1="78750" x2="72917" y2="76667"/>
                        <a14:foregroundMark x1="72917" y1="76667" x2="80417" y2="79375"/>
                        <a14:foregroundMark x1="79167" y1="86875" x2="98750" y2="86042"/>
                        <a14:foregroundMark x1="96250" y1="79167" x2="88750" y2="85000"/>
                        <a14:foregroundMark x1="10208" y1="94167" x2="33958" y2="90625"/>
                        <a14:foregroundMark x1="33958" y1="90625" x2="35833" y2="91667"/>
                        <a14:foregroundMark x1="22708" y1="95208" x2="30833" y2="94583"/>
                        <a14:foregroundMark x1="13125" y1="85417" x2="28333" y2="80625"/>
                        <a14:foregroundMark x1="17917" y1="87083" x2="27708" y2="81875"/>
                        <a14:foregroundMark x1="22917" y1="89167" x2="26250" y2="85417"/>
                        <a14:foregroundMark x1="29167" y1="68125" x2="27708" y2="60833"/>
                        <a14:foregroundMark x1="27708" y1="60833" x2="27500" y2="60625"/>
                        <a14:foregroundMark x1="23958" y1="72500" x2="35208" y2="69167"/>
                        <a14:foregroundMark x1="22917" y1="73750" x2="12917" y2="73958"/>
                        <a14:foregroundMark x1="12708" y1="72292" x2="12292" y2="59792"/>
                        <a14:foregroundMark x1="12292" y1="59792" x2="22500" y2="70625"/>
                        <a14:foregroundMark x1="25000" y1="63958" x2="26042" y2="58125"/>
                        <a14:backgroundMark x1="11667" y1="37917" x2="15417" y2="35625"/>
                        <a14:backgroundMark x1="14792" y1="36458" x2="14792" y2="36458"/>
                        <a14:backgroundMark x1="15000" y1="36458" x2="15208" y2="36458"/>
                        <a14:backgroundMark x1="26250" y1="38333" x2="30833" y2="43125"/>
                        <a14:backgroundMark x1="29583" y1="43333" x2="31042" y2="43750"/>
                        <a14:backgroundMark x1="35417" y1="45000" x2="40417" y2="45833"/>
                        <a14:backgroundMark x1="40208" y1="46458" x2="50625" y2="50000"/>
                        <a14:backgroundMark x1="50625" y1="50000" x2="53750" y2="48750"/>
                        <a14:backgroundMark x1="72083" y1="43333" x2="99792" y2="3375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8128" y="-2404195"/>
            <a:ext cx="6866128" cy="6866128"/>
          </a:xfrm>
          <a:prstGeom prst="rect">
            <a:avLst/>
          </a:prstGeom>
        </p:spPr>
      </p:pic>
      <p:sp>
        <p:nvSpPr>
          <p:cNvPr id="22" name="Řečová bublina: obdélníkový bublinový popisek 21">
            <a:extLst>
              <a:ext uri="{FF2B5EF4-FFF2-40B4-BE49-F238E27FC236}">
                <a16:creationId xmlns:a16="http://schemas.microsoft.com/office/drawing/2014/main" id="{95509AB7-C89C-EB7B-9862-A54F14367642}"/>
              </a:ext>
            </a:extLst>
          </p:cNvPr>
          <p:cNvSpPr/>
          <p:nvPr/>
        </p:nvSpPr>
        <p:spPr bwMode="auto">
          <a:xfrm>
            <a:off x="2277765" y="21164"/>
            <a:ext cx="2726266" cy="1122616"/>
          </a:xfrm>
          <a:prstGeom prst="wedgeRectCallout">
            <a:avLst>
              <a:gd name="adj1" fmla="val -62739"/>
              <a:gd name="adj2" fmla="val 42891"/>
            </a:avLst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1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C505B0AC-5B13-4C73-94E2-D32044CDA126}"/>
              </a:ext>
            </a:extLst>
          </p:cNvPr>
          <p:cNvSpPr/>
          <p:nvPr/>
        </p:nvSpPr>
        <p:spPr>
          <a:xfrm rot="5400000">
            <a:off x="83320" y="3116642"/>
            <a:ext cx="6686471" cy="6857331"/>
          </a:xfrm>
          <a:prstGeom prst="rect">
            <a:avLst/>
          </a:prstGeom>
          <a:gradFill flip="none" rotWithShape="1">
            <a:gsLst>
              <a:gs pos="79000">
                <a:srgbClr val="FFDE59"/>
              </a:gs>
              <a:gs pos="100000">
                <a:srgbClr val="FFF0B2"/>
              </a:gs>
              <a:gs pos="30000">
                <a:srgbClr val="FFCC00"/>
              </a:gs>
              <a:gs pos="0">
                <a:srgbClr val="FFCC00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l"/>
            <a:endParaRPr lang="cs-CZ" sz="1200" dirty="0" err="1">
              <a:solidFill>
                <a:srgbClr val="FFCC00"/>
              </a:solidFill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348835" y="3482913"/>
            <a:ext cx="6236748" cy="66236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75000"/>
              </a:lnSpc>
              <a:spcAft>
                <a:spcPts val="500"/>
              </a:spcAft>
            </a:pPr>
            <a:r>
              <a:rPr lang="cs-CZ" sz="3500" b="1" dirty="0">
                <a:solidFill>
                  <a:srgbClr val="D50029"/>
                </a:solidFill>
                <a:latin typeface="Delivery Arabic Cd Black" panose="020F0906020204020204" pitchFamily="34" charset="-78"/>
                <a:ea typeface="Delivery" panose="020F0503020204020204" pitchFamily="34" charset="0"/>
                <a:cs typeface="Delivery Arabic Cd Black" panose="020F0906020204020204" pitchFamily="34" charset="-78"/>
              </a:rPr>
              <a:t>SKLADNÍK/SKLADNICE</a:t>
            </a:r>
            <a:endParaRPr lang="cs-CZ" sz="3500" b="1" dirty="0">
              <a:latin typeface="Delivery Arabic Cd Black" panose="020F0906020204020204" pitchFamily="34" charset="-78"/>
              <a:ea typeface="Delivery" panose="020F0503020204020204" pitchFamily="34" charset="0"/>
              <a:cs typeface="Delivery Arabic Cd Black" panose="020F0906020204020204" pitchFamily="34" charset="-78"/>
            </a:endParaRP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           Mariánské údolí, </a:t>
            </a:r>
            <a:r>
              <a:rPr lang="cs-CZ" sz="16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Hlubočky  </a:t>
            </a:r>
            <a:r>
              <a:rPr lang="cs-CZ" sz="1600" b="1" dirty="0">
                <a:solidFill>
                  <a:srgbClr val="000000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	      petra.samkova@dhl.com </a:t>
            </a:r>
            <a:r>
              <a:rPr lang="cs-CZ" sz="16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                      </a:t>
            </a:r>
          </a:p>
          <a:p>
            <a:pPr algn="just"/>
            <a:endParaRPr lang="cs-CZ" sz="1600" b="1" dirty="0">
              <a:solidFill>
                <a:srgbClr val="000000"/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           +420 722 974 440              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	</a:t>
            </a:r>
            <a:endParaRPr lang="cs-CZ" sz="1600" b="1" i="0" dirty="0">
              <a:solidFill>
                <a:srgbClr val="000000"/>
              </a:solidFill>
              <a:effectLst/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algn="just"/>
            <a:endParaRPr lang="cs-CZ" sz="1600" b="1" dirty="0">
              <a:solidFill>
                <a:srgbClr val="000000"/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algn="just"/>
            <a:endParaRPr lang="cs-CZ" sz="1600" b="1" dirty="0">
              <a:solidFill>
                <a:srgbClr val="000000"/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algn="just"/>
            <a:r>
              <a:rPr lang="cs-CZ" sz="16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ČEMU SE U NÁS BUDETE VĚNOVAT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Pracovat ve skladu na </a:t>
            </a: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vysokozdvižném vozíku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Vyskladňovat a naskladňovat zboží </a:t>
            </a: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z/do regálů nebo nákladních aut</a:t>
            </a:r>
          </a:p>
          <a:p>
            <a:pPr algn="just"/>
            <a:endParaRPr lang="cs-CZ" sz="1400" b="0" i="0" dirty="0">
              <a:solidFill>
                <a:srgbClr val="000000"/>
              </a:solidFill>
              <a:effectLst/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algn="just"/>
            <a:r>
              <a:rPr lang="cs-CZ" sz="16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CO OD TEBE POTŘEBUJEME?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Praxi na VZV, ideálně i průkaz </a:t>
            </a: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– ten ale umíme zajistit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Spolehlivost</a:t>
            </a: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, zodpovědnost za odvedenou práci a chuť jít do toho</a:t>
            </a:r>
          </a:p>
          <a:p>
            <a:pPr algn="just"/>
            <a:endParaRPr lang="cs-CZ" sz="1400" b="0" i="0" dirty="0">
              <a:solidFill>
                <a:srgbClr val="000000"/>
              </a:solidFill>
              <a:effectLst/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algn="just"/>
            <a:r>
              <a:rPr lang="cs-CZ" sz="16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CO TI ZA TO NABÍZÍME?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Nástupní bonus </a:t>
            </a:r>
            <a:r>
              <a:rPr lang="cs-CZ" sz="1400" b="1" dirty="0">
                <a:solidFill>
                  <a:srgbClr val="000000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5</a:t>
            </a: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.000 Kč  vyplacených </a:t>
            </a: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po 3. a </a:t>
            </a:r>
            <a:r>
              <a:rPr lang="cs-CZ" sz="1400" b="1" dirty="0">
                <a:solidFill>
                  <a:srgbClr val="000000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10.000 Kč </a:t>
            </a:r>
            <a:r>
              <a:rPr lang="cs-CZ" sz="1400" dirty="0">
                <a:solidFill>
                  <a:srgbClr val="000000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po 6. měsících </a:t>
            </a:r>
            <a:endParaRPr lang="cs-CZ" sz="1400" b="0" i="0" dirty="0">
              <a:solidFill>
                <a:srgbClr val="000000"/>
              </a:solidFill>
              <a:effectLst/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Nabídneme </a:t>
            </a:r>
            <a:r>
              <a:rPr lang="cs-CZ" sz="1400" dirty="0">
                <a:solidFill>
                  <a:srgbClr val="000000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přátelský </a:t>
            </a:r>
            <a:r>
              <a:rPr lang="cs-CZ" sz="1400" b="1" dirty="0">
                <a:solidFill>
                  <a:srgbClr val="000000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kolektiv a příjemné prostředí s kantýnou</a:t>
            </a:r>
            <a:endParaRPr lang="cs-CZ" sz="1400" b="0" i="0" dirty="0">
              <a:solidFill>
                <a:srgbClr val="000000"/>
              </a:solidFill>
              <a:effectLst/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Nabízíme </a:t>
            </a: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zajímavé finanční ohodnocení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Stravenky v hodnotě </a:t>
            </a: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90,-Kč, které plně hradíme </a:t>
            </a: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- 1800 Kč/měsíčně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Budeš trávit o týden </a:t>
            </a: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déle na dovolené (25dní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Zdarma tě </a:t>
            </a: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pojistíme</a:t>
            </a: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 pro případ, že při práci způsobíš škodu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Nabízíme </a:t>
            </a: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penzijní připojištění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y i tvoje rodina budete moct </a:t>
            </a: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elefonovat za super ceny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Balíček zaměstnaneckých výhod – </a:t>
            </a: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CAFETERIA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 mnoho dalších zajímavých </a:t>
            </a: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výhod</a:t>
            </a:r>
            <a:endParaRPr lang="cs-CZ" sz="1400" b="1" dirty="0">
              <a:solidFill>
                <a:srgbClr val="000000"/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algn="l"/>
            <a:endParaRPr lang="cs-CZ" sz="1600" b="0" i="0" dirty="0">
              <a:solidFill>
                <a:srgbClr val="000000"/>
              </a:solidFill>
              <a:effectLst/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endParaRPr lang="en-US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pic>
        <p:nvPicPr>
          <p:cNvPr id="10" name="Obrázek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0925" y="9205897"/>
            <a:ext cx="1678240" cy="371704"/>
          </a:xfrm>
          <a:prstGeom prst="rect">
            <a:avLst/>
          </a:prstGeom>
        </p:spPr>
      </p:pic>
      <p:pic>
        <p:nvPicPr>
          <p:cNvPr id="3" name="Grafický objekt 2" descr="Připnout se souvislou výplní">
            <a:extLst>
              <a:ext uri="{FF2B5EF4-FFF2-40B4-BE49-F238E27FC236}">
                <a16:creationId xmlns:a16="http://schemas.microsoft.com/office/drawing/2014/main" id="{CE5E27CF-E841-D5B8-3A8E-3C80973814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4110" y="3797191"/>
            <a:ext cx="514612" cy="514612"/>
          </a:xfrm>
          <a:prstGeom prst="rect">
            <a:avLst/>
          </a:prstGeom>
        </p:spPr>
      </p:pic>
      <p:pic>
        <p:nvPicPr>
          <p:cNvPr id="7" name="Grafický objekt 6" descr="Telefonovat se souvislou výplní">
            <a:extLst>
              <a:ext uri="{FF2B5EF4-FFF2-40B4-BE49-F238E27FC236}">
                <a16:creationId xmlns:a16="http://schemas.microsoft.com/office/drawing/2014/main" id="{ABAEB87E-F277-30F2-887B-D2158D8504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36891" y="4313467"/>
            <a:ext cx="514612" cy="514612"/>
          </a:xfrm>
          <a:prstGeom prst="rect">
            <a:avLst/>
          </a:prstGeom>
        </p:spPr>
      </p:pic>
      <p:pic>
        <p:nvPicPr>
          <p:cNvPr id="9" name="Grafický objekt 8" descr="Obálka se souvislou výplní">
            <a:extLst>
              <a:ext uri="{FF2B5EF4-FFF2-40B4-BE49-F238E27FC236}">
                <a16:creationId xmlns:a16="http://schemas.microsoft.com/office/drawing/2014/main" id="{F0348969-38D1-CD66-A6AE-730F72E335B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640898" y="3797191"/>
            <a:ext cx="514612" cy="514612"/>
          </a:xfrm>
          <a:prstGeom prst="rect">
            <a:avLst/>
          </a:prstGeom>
        </p:spPr>
      </p:pic>
      <p:pic>
        <p:nvPicPr>
          <p:cNvPr id="19" name="Grafický objekt 18" descr="Fotoaparát se souvislou výplní">
            <a:extLst>
              <a:ext uri="{FF2B5EF4-FFF2-40B4-BE49-F238E27FC236}">
                <a16:creationId xmlns:a16="http://schemas.microsoft.com/office/drawing/2014/main" id="{3B8119AC-DE89-33B2-8A67-50765CE6D67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640899" y="4311803"/>
            <a:ext cx="514612" cy="514612"/>
          </a:xfrm>
          <a:prstGeom prst="rect">
            <a:avLst/>
          </a:prstGeom>
        </p:spPr>
      </p:pic>
      <p:sp>
        <p:nvSpPr>
          <p:cNvPr id="8" name="TextovéPole 7">
            <a:extLst>
              <a:ext uri="{FF2B5EF4-FFF2-40B4-BE49-F238E27FC236}">
                <a16:creationId xmlns:a16="http://schemas.microsoft.com/office/drawing/2014/main" id="{83AC8E72-DEE6-B301-DDD3-4E8FD83775F2}"/>
              </a:ext>
            </a:extLst>
          </p:cNvPr>
          <p:cNvSpPr txBox="1"/>
          <p:nvPr/>
        </p:nvSpPr>
        <p:spPr>
          <a:xfrm>
            <a:off x="7555382" y="1778880"/>
            <a:ext cx="2745424" cy="646331"/>
          </a:xfrm>
          <a:prstGeom prst="rect">
            <a:avLst/>
          </a:prstGeom>
          <a:solidFill>
            <a:srgbClr val="FFCC00"/>
          </a:solidFill>
        </p:spPr>
        <p:txBody>
          <a:bodyPr wrap="square">
            <a:spAutoFit/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3600" b="1" i="0" u="none" strike="noStrike" cap="none" normalizeH="0" baseline="0" dirty="0">
              <a:ln>
                <a:noFill/>
              </a:ln>
              <a:solidFill>
                <a:srgbClr val="D40511"/>
              </a:solidFill>
              <a:effectLst/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CC0C1188-D45D-509A-CEAD-59D7A6E51473}"/>
              </a:ext>
            </a:extLst>
          </p:cNvPr>
          <p:cNvSpPr txBox="1"/>
          <p:nvPr/>
        </p:nvSpPr>
        <p:spPr>
          <a:xfrm>
            <a:off x="1951024" y="114806"/>
            <a:ext cx="337974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sz="2000" b="1" i="0" u="none" strike="noStrike" cap="none" normalizeH="0" baseline="0" dirty="0">
                <a:ln>
                  <a:noFill/>
                </a:ln>
                <a:solidFill>
                  <a:srgbClr val="D40511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NÁSTUPNÍ BONUS</a:t>
            </a:r>
          </a:p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s-CZ" sz="4000" b="1" dirty="0">
                <a:solidFill>
                  <a:srgbClr val="D4051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15.000 Kč</a:t>
            </a:r>
            <a:endParaRPr lang="cs-CZ" sz="2000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8F9BF5D3-A8A3-E6C0-708E-6778E14E26D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05349" y="4264874"/>
            <a:ext cx="1361017" cy="1376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6371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Obrázek 17">
            <a:extLst>
              <a:ext uri="{FF2B5EF4-FFF2-40B4-BE49-F238E27FC236}">
                <a16:creationId xmlns:a16="http://schemas.microsoft.com/office/drawing/2014/main" id="{A33BB596-C1CF-ED79-664B-5FB3EB5047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555" y="-21949"/>
            <a:ext cx="6861556" cy="1122616"/>
          </a:xfrm>
          <a:prstGeom prst="rect">
            <a:avLst/>
          </a:prstGeom>
        </p:spPr>
      </p:pic>
      <p:pic>
        <p:nvPicPr>
          <p:cNvPr id="15" name="Obrázek 14" descr="Obsah obrázku text, osoba, oblečení, kreslené&#10;&#10;Popis byl vytvořen automaticky">
            <a:extLst>
              <a:ext uri="{FF2B5EF4-FFF2-40B4-BE49-F238E27FC236}">
                <a16:creationId xmlns:a16="http://schemas.microsoft.com/office/drawing/2014/main" id="{795024BC-E3BC-E54A-65CC-F77C48DFC4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8750" l="417" r="98750">
                        <a14:foregroundMark x1="208" y1="34583" x2="10208" y2="38750"/>
                        <a14:foregroundMark x1="15610" y1="36458" x2="17083" y2="35833"/>
                        <a14:foregroundMark x1="15060" y1="36691" x2="15610" y2="36458"/>
                        <a14:foregroundMark x1="10208" y1="38750" x2="11540" y2="38185"/>
                        <a14:foregroundMark x1="20051" y1="36458" x2="25000" y2="37500"/>
                        <a14:foregroundMark x1="17083" y1="35833" x2="20051" y2="36458"/>
                        <a14:foregroundMark x1="30689" y1="44205" x2="30833" y2="44375"/>
                        <a14:foregroundMark x1="25000" y1="37500" x2="25921" y2="38585"/>
                        <a14:foregroundMark x1="53515" y1="49209" x2="56250" y2="49792"/>
                        <a14:foregroundMark x1="40056" y1="46341" x2="40267" y2="46386"/>
                        <a14:foregroundMark x1="30833" y1="44375" x2="35200" y2="45306"/>
                        <a14:foregroundMark x1="56250" y1="49792" x2="72020" y2="43454"/>
                        <a14:foregroundMark x1="99783" y1="33766" x2="99375" y2="99792"/>
                        <a14:foregroundMark x1="99375" y1="99792" x2="3958" y2="99792"/>
                        <a14:foregroundMark x1="3958" y1="99792" x2="417" y2="35625"/>
                        <a14:foregroundMark x1="417" y1="35625" x2="625" y2="35625"/>
                        <a14:foregroundMark x1="94323" y1="39492" x2="99375" y2="55625"/>
                        <a14:foregroundMark x1="99375" y1="55625" x2="99375" y2="99583"/>
                        <a14:foregroundMark x1="99375" y1="99583" x2="833" y2="98750"/>
                        <a14:foregroundMark x1="833" y1="98750" x2="2500" y2="93333"/>
                        <a14:foregroundMark x1="64583" y1="78750" x2="72917" y2="76667"/>
                        <a14:foregroundMark x1="72917" y1="76667" x2="80417" y2="79375"/>
                        <a14:foregroundMark x1="79167" y1="86875" x2="98750" y2="86042"/>
                        <a14:foregroundMark x1="96250" y1="79167" x2="88750" y2="85000"/>
                        <a14:foregroundMark x1="10208" y1="94167" x2="33958" y2="90625"/>
                        <a14:foregroundMark x1="33958" y1="90625" x2="35833" y2="91667"/>
                        <a14:foregroundMark x1="22708" y1="95208" x2="30833" y2="94583"/>
                        <a14:foregroundMark x1="13125" y1="85417" x2="28333" y2="80625"/>
                        <a14:foregroundMark x1="17917" y1="87083" x2="27708" y2="81875"/>
                        <a14:foregroundMark x1="22917" y1="89167" x2="26250" y2="85417"/>
                        <a14:foregroundMark x1="29167" y1="68125" x2="27708" y2="60833"/>
                        <a14:foregroundMark x1="27708" y1="60833" x2="27500" y2="60625"/>
                        <a14:foregroundMark x1="23958" y1="72500" x2="35208" y2="69167"/>
                        <a14:foregroundMark x1="22917" y1="73750" x2="12917" y2="73958"/>
                        <a14:foregroundMark x1="12708" y1="72292" x2="12292" y2="59792"/>
                        <a14:foregroundMark x1="12292" y1="59792" x2="22500" y2="70625"/>
                        <a14:foregroundMark x1="25000" y1="63958" x2="26042" y2="58125"/>
                        <a14:backgroundMark x1="11667" y1="37917" x2="15417" y2="35625"/>
                        <a14:backgroundMark x1="14792" y1="36458" x2="14792" y2="36458"/>
                        <a14:backgroundMark x1="15000" y1="36458" x2="15208" y2="36458"/>
                        <a14:backgroundMark x1="26250" y1="38333" x2="30833" y2="43125"/>
                        <a14:backgroundMark x1="29583" y1="43333" x2="31042" y2="43750"/>
                        <a14:backgroundMark x1="35417" y1="45000" x2="40417" y2="45833"/>
                        <a14:backgroundMark x1="40208" y1="46458" x2="50625" y2="50000"/>
                        <a14:backgroundMark x1="50625" y1="50000" x2="53750" y2="48750"/>
                        <a14:backgroundMark x1="72083" y1="43333" x2="99792" y2="3375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8128" y="-2404195"/>
            <a:ext cx="6866128" cy="6866128"/>
          </a:xfrm>
          <a:prstGeom prst="rect">
            <a:avLst/>
          </a:prstGeom>
        </p:spPr>
      </p:pic>
      <p:sp>
        <p:nvSpPr>
          <p:cNvPr id="22" name="Řečová bublina: obdélníkový bublinový popisek 21">
            <a:extLst>
              <a:ext uri="{FF2B5EF4-FFF2-40B4-BE49-F238E27FC236}">
                <a16:creationId xmlns:a16="http://schemas.microsoft.com/office/drawing/2014/main" id="{95509AB7-C89C-EB7B-9862-A54F14367642}"/>
              </a:ext>
            </a:extLst>
          </p:cNvPr>
          <p:cNvSpPr/>
          <p:nvPr/>
        </p:nvSpPr>
        <p:spPr bwMode="auto">
          <a:xfrm>
            <a:off x="2277765" y="21164"/>
            <a:ext cx="2726266" cy="1122616"/>
          </a:xfrm>
          <a:prstGeom prst="wedgeRectCallout">
            <a:avLst>
              <a:gd name="adj1" fmla="val -62739"/>
              <a:gd name="adj2" fmla="val 42891"/>
            </a:avLst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cs-CZ" sz="1400" b="0" i="0" u="none" strike="noStrike" cap="none" normalizeH="0" baseline="0" dirty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C505B0AC-5B13-4C73-94E2-D32044CDA126}"/>
              </a:ext>
            </a:extLst>
          </p:cNvPr>
          <p:cNvSpPr/>
          <p:nvPr/>
        </p:nvSpPr>
        <p:spPr>
          <a:xfrm rot="5400000">
            <a:off x="83320" y="3116642"/>
            <a:ext cx="6686471" cy="6857331"/>
          </a:xfrm>
          <a:prstGeom prst="rect">
            <a:avLst/>
          </a:prstGeom>
          <a:gradFill flip="none" rotWithShape="1">
            <a:gsLst>
              <a:gs pos="79000">
                <a:srgbClr val="FFDE59"/>
              </a:gs>
              <a:gs pos="100000">
                <a:srgbClr val="FFF0B2"/>
              </a:gs>
              <a:gs pos="30000">
                <a:srgbClr val="FFCC00"/>
              </a:gs>
              <a:gs pos="0">
                <a:srgbClr val="FFCC00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l"/>
            <a:endParaRPr lang="cs-CZ" sz="1200" dirty="0" err="1">
              <a:solidFill>
                <a:srgbClr val="FFCC00"/>
              </a:solidFill>
            </a:endParaRPr>
          </a:p>
        </p:txBody>
      </p:sp>
      <p:sp>
        <p:nvSpPr>
          <p:cNvPr id="6" name="TextovéPole 5"/>
          <p:cNvSpPr txBox="1"/>
          <p:nvPr/>
        </p:nvSpPr>
        <p:spPr>
          <a:xfrm>
            <a:off x="348835" y="3482913"/>
            <a:ext cx="6236748" cy="66236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75000"/>
              </a:lnSpc>
              <a:spcAft>
                <a:spcPts val="500"/>
              </a:spcAft>
            </a:pPr>
            <a:r>
              <a:rPr lang="cs-CZ" sz="3500" b="1" dirty="0">
                <a:solidFill>
                  <a:srgbClr val="D50029"/>
                </a:solidFill>
                <a:latin typeface="Delivery Arabic Cd Black" panose="020F0906020204020204" pitchFamily="34" charset="-78"/>
                <a:ea typeface="Delivery" panose="020F0503020204020204" pitchFamily="34" charset="0"/>
                <a:cs typeface="Delivery Arabic Cd Black" panose="020F0906020204020204" pitchFamily="34" charset="-78"/>
              </a:rPr>
              <a:t>SKLADNÍK/SKLADNICE</a:t>
            </a:r>
            <a:endParaRPr lang="cs-CZ" sz="3500" b="1" dirty="0">
              <a:latin typeface="Delivery Arabic Cd Black" panose="020F0906020204020204" pitchFamily="34" charset="-78"/>
              <a:ea typeface="Delivery" panose="020F0503020204020204" pitchFamily="34" charset="0"/>
              <a:cs typeface="Delivery Arabic Cd Black" panose="020F0906020204020204" pitchFamily="34" charset="-78"/>
            </a:endParaRP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           Mariánské údolí, </a:t>
            </a:r>
            <a:r>
              <a:rPr lang="cs-CZ" sz="16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Hlubočky  </a:t>
            </a:r>
            <a:r>
              <a:rPr lang="cs-CZ" sz="1600" b="1" dirty="0">
                <a:solidFill>
                  <a:srgbClr val="000000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	      petra.samkova@dhl.com </a:t>
            </a:r>
            <a:r>
              <a:rPr lang="cs-CZ" sz="16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                      </a:t>
            </a:r>
          </a:p>
          <a:p>
            <a:pPr algn="just"/>
            <a:endParaRPr lang="cs-CZ" sz="1600" b="1" dirty="0">
              <a:solidFill>
                <a:srgbClr val="000000"/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           +420 722 974 440              </a:t>
            </a:r>
          </a:p>
          <a:p>
            <a:pPr algn="just"/>
            <a:r>
              <a:rPr lang="cs-CZ" sz="1600" b="1" dirty="0">
                <a:solidFill>
                  <a:srgbClr val="000000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	</a:t>
            </a:r>
            <a:endParaRPr lang="cs-CZ" sz="1600" b="1" i="0" dirty="0">
              <a:solidFill>
                <a:srgbClr val="000000"/>
              </a:solidFill>
              <a:effectLst/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algn="just"/>
            <a:endParaRPr lang="cs-CZ" sz="1600" b="1" dirty="0">
              <a:solidFill>
                <a:srgbClr val="000000"/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algn="just"/>
            <a:endParaRPr lang="cs-CZ" sz="1600" b="1" dirty="0">
              <a:solidFill>
                <a:srgbClr val="000000"/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algn="just"/>
            <a:endParaRPr lang="cs-CZ" sz="1600" b="1" dirty="0">
              <a:solidFill>
                <a:srgbClr val="000000"/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algn="just"/>
            <a:r>
              <a:rPr lang="cs-CZ" sz="16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ČEMU SE U NÁS BUDETE VĚNOVAT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Vyskladňovat a naskladňovat zboží </a:t>
            </a: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z/do regálů nebo nákladních aut</a:t>
            </a:r>
          </a:p>
          <a:p>
            <a:pPr algn="just"/>
            <a:endParaRPr lang="cs-CZ" sz="1400" b="0" i="0" dirty="0">
              <a:solidFill>
                <a:srgbClr val="000000"/>
              </a:solidFill>
              <a:effectLst/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algn="just"/>
            <a:r>
              <a:rPr lang="cs-CZ" sz="16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CO OD TEBE POTŘEBUJEME?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1" i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Spolehlivost</a:t>
            </a: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, zodpovědnost za odvedenou práci a chuť jít do toho</a:t>
            </a:r>
          </a:p>
          <a:p>
            <a:pPr algn="just"/>
            <a:endParaRPr lang="cs-CZ" sz="1400" b="0" i="0" dirty="0">
              <a:solidFill>
                <a:srgbClr val="000000"/>
              </a:solidFill>
              <a:effectLst/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algn="just"/>
            <a:r>
              <a:rPr lang="cs-CZ" sz="16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CO TI ZA TO NABÍZÍME?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Nástupní bonus </a:t>
            </a:r>
            <a:r>
              <a:rPr lang="cs-CZ" sz="1400" b="1" dirty="0">
                <a:solidFill>
                  <a:srgbClr val="000000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5</a:t>
            </a: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.000 Kč  vyplacených </a:t>
            </a: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po 3. a </a:t>
            </a:r>
            <a:r>
              <a:rPr lang="cs-CZ" sz="1400" b="1" dirty="0">
                <a:solidFill>
                  <a:srgbClr val="000000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10.000 Kč </a:t>
            </a:r>
            <a:r>
              <a:rPr lang="cs-CZ" sz="1400" dirty="0">
                <a:solidFill>
                  <a:srgbClr val="000000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po 6. měsících </a:t>
            </a:r>
            <a:endParaRPr lang="cs-CZ" sz="1400" b="0" i="0" dirty="0">
              <a:solidFill>
                <a:srgbClr val="000000"/>
              </a:solidFill>
              <a:effectLst/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Nabídneme </a:t>
            </a:r>
            <a:r>
              <a:rPr lang="cs-CZ" sz="1400" dirty="0">
                <a:solidFill>
                  <a:srgbClr val="000000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přátelský </a:t>
            </a:r>
            <a:r>
              <a:rPr lang="cs-CZ" sz="1400" b="1" dirty="0">
                <a:solidFill>
                  <a:srgbClr val="000000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kolektiv a příjemné prostředí s kantýnou</a:t>
            </a:r>
            <a:endParaRPr lang="cs-CZ" sz="1400" b="0" i="0" dirty="0">
              <a:solidFill>
                <a:srgbClr val="000000"/>
              </a:solidFill>
              <a:effectLst/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Nabízíme </a:t>
            </a: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zajímavé finanční ohodnocení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Stravenky v hodnotě </a:t>
            </a: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90,-Kč, které plně hradíme </a:t>
            </a: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- 1800 Kč/měsíčně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Budeš trávit o týden </a:t>
            </a: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déle na dovolené (25dní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Zdarma tě </a:t>
            </a: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pojistíme</a:t>
            </a: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 pro případ, že při práci způsobíš škodu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Nabízíme </a:t>
            </a: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penzijní připojištění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y i tvoje rodina budete moct </a:t>
            </a: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telefonovat za super ceny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Balíček zaměstnaneckých výhod – </a:t>
            </a: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CAFETERIA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400" b="0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A mnoho dalších zajímavých </a:t>
            </a:r>
            <a:r>
              <a:rPr lang="cs-CZ" sz="1400" b="1" i="0" dirty="0">
                <a:solidFill>
                  <a:srgbClr val="000000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výhod</a:t>
            </a:r>
            <a:endParaRPr lang="cs-CZ" sz="1400" b="1" dirty="0">
              <a:solidFill>
                <a:srgbClr val="000000"/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pPr algn="l"/>
            <a:endParaRPr lang="cs-CZ" sz="1600" b="0" i="0" dirty="0">
              <a:solidFill>
                <a:srgbClr val="000000"/>
              </a:solidFill>
              <a:effectLst/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  <a:p>
            <a:endParaRPr lang="en-US" dirty="0"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pic>
        <p:nvPicPr>
          <p:cNvPr id="10" name="Obrázek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30925" y="9205897"/>
            <a:ext cx="1678240" cy="371704"/>
          </a:xfrm>
          <a:prstGeom prst="rect">
            <a:avLst/>
          </a:prstGeom>
        </p:spPr>
      </p:pic>
      <p:pic>
        <p:nvPicPr>
          <p:cNvPr id="3" name="Grafický objekt 2" descr="Připnout se souvislou výplní">
            <a:extLst>
              <a:ext uri="{FF2B5EF4-FFF2-40B4-BE49-F238E27FC236}">
                <a16:creationId xmlns:a16="http://schemas.microsoft.com/office/drawing/2014/main" id="{CE5E27CF-E841-D5B8-3A8E-3C80973814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34110" y="3797191"/>
            <a:ext cx="514612" cy="514612"/>
          </a:xfrm>
          <a:prstGeom prst="rect">
            <a:avLst/>
          </a:prstGeom>
        </p:spPr>
      </p:pic>
      <p:pic>
        <p:nvPicPr>
          <p:cNvPr id="7" name="Grafický objekt 6" descr="Telefonovat se souvislou výplní">
            <a:extLst>
              <a:ext uri="{FF2B5EF4-FFF2-40B4-BE49-F238E27FC236}">
                <a16:creationId xmlns:a16="http://schemas.microsoft.com/office/drawing/2014/main" id="{ABAEB87E-F277-30F2-887B-D2158D8504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36891" y="4313467"/>
            <a:ext cx="514612" cy="514612"/>
          </a:xfrm>
          <a:prstGeom prst="rect">
            <a:avLst/>
          </a:prstGeom>
        </p:spPr>
      </p:pic>
      <p:pic>
        <p:nvPicPr>
          <p:cNvPr id="9" name="Grafický objekt 8" descr="Obálka se souvislou výplní">
            <a:extLst>
              <a:ext uri="{FF2B5EF4-FFF2-40B4-BE49-F238E27FC236}">
                <a16:creationId xmlns:a16="http://schemas.microsoft.com/office/drawing/2014/main" id="{F0348969-38D1-CD66-A6AE-730F72E335B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640898" y="3797191"/>
            <a:ext cx="514612" cy="514612"/>
          </a:xfrm>
          <a:prstGeom prst="rect">
            <a:avLst/>
          </a:prstGeom>
        </p:spPr>
      </p:pic>
      <p:pic>
        <p:nvPicPr>
          <p:cNvPr id="19" name="Grafický objekt 18" descr="Fotoaparát se souvislou výplní">
            <a:extLst>
              <a:ext uri="{FF2B5EF4-FFF2-40B4-BE49-F238E27FC236}">
                <a16:creationId xmlns:a16="http://schemas.microsoft.com/office/drawing/2014/main" id="{3B8119AC-DE89-33B2-8A67-50765CE6D67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640899" y="4311803"/>
            <a:ext cx="514612" cy="514612"/>
          </a:xfrm>
          <a:prstGeom prst="rect">
            <a:avLst/>
          </a:prstGeom>
        </p:spPr>
      </p:pic>
      <p:sp>
        <p:nvSpPr>
          <p:cNvPr id="21" name="TextovéPole 20">
            <a:extLst>
              <a:ext uri="{FF2B5EF4-FFF2-40B4-BE49-F238E27FC236}">
                <a16:creationId xmlns:a16="http://schemas.microsoft.com/office/drawing/2014/main" id="{CC0C1188-D45D-509A-CEAD-59D7A6E51473}"/>
              </a:ext>
            </a:extLst>
          </p:cNvPr>
          <p:cNvSpPr txBox="1"/>
          <p:nvPr/>
        </p:nvSpPr>
        <p:spPr>
          <a:xfrm>
            <a:off x="1951024" y="114806"/>
            <a:ext cx="337974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sz="2000" b="1" i="0" u="none" strike="noStrike" cap="none" normalizeH="0" baseline="0" dirty="0">
                <a:ln>
                  <a:noFill/>
                </a:ln>
                <a:solidFill>
                  <a:srgbClr val="D40511"/>
                </a:solidFill>
                <a:effectLst/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NÁSTUPNÍ BONUS</a:t>
            </a:r>
          </a:p>
          <a:p>
            <a:pPr marL="0" marR="0" indent="0" algn="ctr" defTabSz="9953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cs-CZ" sz="4000" b="1" dirty="0">
                <a:solidFill>
                  <a:srgbClr val="D40511"/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15.000 Kč</a:t>
            </a:r>
            <a:endParaRPr lang="cs-CZ" sz="2000" dirty="0"/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E8CEBB0F-9A0F-A3D6-3ACB-8D9EEC8B3E5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705349" y="4264874"/>
            <a:ext cx="1361017" cy="1376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7954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FooterRightFont"/>
  <p:tag name="FONTSETCLASSNAME" val="FontSet1"/>
  <p:tag name="COLORS" val="-2;-2;-2;-2;FooterFontColor;-2"/>
  <p:tag name="COLORSETCLASSNAME" val="ColorSet1"/>
  <p:tag name="MLI" val="1"/>
  <p:tag name="SHAPESETGROUPCLASSNAME" val="ShapeSetGroup1"/>
  <p:tag name="SHAPESETCLASSNAME" val="Slide"/>
  <p:tag name="COLORSETGROUPCLASSNAME" val="ColorSetGroup1"/>
  <p:tag name="FONTSETGROUPCLASSNAME" val="FontSetGroup1"/>
  <p:tag name="SHAPECLASSNAME" val="DatePH"/>
  <p:tag name="SHAPECLASSPROTECTIONTYPE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FooterLeftFont"/>
  <p:tag name="FONTSETCLASSNAME" val="FontSet1"/>
  <p:tag name="COLORS" val="-2;-2;-2;-2;FooterFontColor;-2"/>
  <p:tag name="COLORSETCLASSNAME" val="ColorSet1"/>
  <p:tag name="MLI" val="1"/>
  <p:tag name="SHAPESETGROUPCLASSNAME" val="ShapeSetGroup1"/>
  <p:tag name="SHAPESETCLASSNAME" val="Slide"/>
  <p:tag name="COLORSETGROUPCLASSNAME" val="ColorSetGroup1"/>
  <p:tag name="FONTSETGROUPCLASSNAME" val="FontSetGroup1"/>
  <p:tag name="SHAPECLASSNAME" val="FooterPH"/>
  <p:tag name="SHAPECLASSPROTECTIONTYPE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HL_PPT_4x3">
  <a:themeElements>
    <a:clrScheme name="hyperlinks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 Klassisch 2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953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</a:defRPr>
        </a:defPPr>
      </a:lstStyle>
    </a:spDef>
    <a:lnDef>
      <a:spPr bwMode="auto">
        <a:solidFill>
          <a:schemeClr val="bg1"/>
        </a:solidFill>
        <a:ln w="12700" cap="flat" cmpd="sng" algn="ctr">
          <a:solidFill>
            <a:schemeClr val="accent2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Aft>
            <a:spcPts val="500"/>
          </a:spcAft>
          <a:defRPr sz="1400" dirty="0" err="1" smtClean="0"/>
        </a:defPPr>
      </a:lstStyle>
    </a:txDef>
  </a:objectDefaults>
  <a:extraClrSchemeLst>
    <a:extraClrScheme>
      <a:clrScheme name="DPDHL_2010_color_scheme">
        <a:dk1>
          <a:srgbClr val="000000"/>
        </a:dk1>
        <a:lt1>
          <a:srgbClr val="FFFFFF"/>
        </a:lt1>
        <a:dk2>
          <a:srgbClr val="B2B2B2"/>
        </a:dk2>
        <a:lt2>
          <a:srgbClr val="DADADA"/>
        </a:lt2>
        <a:accent1>
          <a:srgbClr val="969696"/>
        </a:accent1>
        <a:accent2>
          <a:srgbClr val="696969"/>
        </a:accent2>
        <a:accent3>
          <a:srgbClr val="FFCC00"/>
        </a:accent3>
        <a:accent4>
          <a:srgbClr val="D40511"/>
        </a:accent4>
        <a:accent5>
          <a:srgbClr val="EAEAEA"/>
        </a:accent5>
        <a:accent6>
          <a:srgbClr val="F8F8F8"/>
        </a:accent6>
        <a:hlink>
          <a:srgbClr val="000000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100% Postyellow">
      <a:srgbClr val="FFCC00"/>
    </a:custClr>
    <a:custClr name="70% Postyellow">
      <a:srgbClr val="FFDB4C"/>
    </a:custClr>
    <a:custClr name="45% Postyellow">
      <a:srgbClr val="FFE88C"/>
    </a:custClr>
    <a:custClr name="20% Postyellow">
      <a:srgbClr val="FFF5CC"/>
    </a:custClr>
    <a:custClr name="None">
      <a:srgbClr val="FFFFFF"/>
    </a:custClr>
    <a:custClr name="DHL Red">
      <a:srgbClr val="D40511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Black">
      <a:srgbClr val="000000"/>
    </a:custClr>
    <a:custClr name="60% Black">
      <a:srgbClr val="666666"/>
    </a:custClr>
    <a:custClr name="40% Black">
      <a:srgbClr val="999999"/>
    </a:custClr>
    <a:custClr name="25% Black">
      <a:srgbClr val="BFBFBF"/>
    </a:custClr>
    <a:custClr name="8% Black">
      <a:srgbClr val="E4E4E4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_PPT_4x3.potx" id="{4FBEF2B0-147A-4BD3-B4AF-718E300B9EB2}" vid="{06C635C3-91BA-447B-A38B-4EF6F473499F}"/>
    </a:ext>
  </a:extLst>
</a:theme>
</file>

<file path=ppt/theme/theme2.xml><?xml version="1.0" encoding="utf-8"?>
<a:theme xmlns:a="http://schemas.openxmlformats.org/drawingml/2006/main" name="Larissa-Design">
  <a:themeElements>
    <a:clrScheme name="DPDHL_Template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FFCC00"/>
      </a:hlink>
      <a:folHlink>
        <a:srgbClr val="D40511"/>
      </a:folHlink>
    </a:clrScheme>
    <a:fontScheme name="DPDHL PowerPoint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DPDHL_Template">
      <a:dk1>
        <a:srgbClr val="000000"/>
      </a:dk1>
      <a:lt1>
        <a:srgbClr val="FFFFFF"/>
      </a:lt1>
      <a:dk2>
        <a:srgbClr val="B2B2B2"/>
      </a:dk2>
      <a:lt2>
        <a:srgbClr val="DADADA"/>
      </a:lt2>
      <a:accent1>
        <a:srgbClr val="969696"/>
      </a:accent1>
      <a:accent2>
        <a:srgbClr val="696969"/>
      </a:accent2>
      <a:accent3>
        <a:srgbClr val="FFCC00"/>
      </a:accent3>
      <a:accent4>
        <a:srgbClr val="D40511"/>
      </a:accent4>
      <a:accent5>
        <a:srgbClr val="EAEAEA"/>
      </a:accent5>
      <a:accent6>
        <a:srgbClr val="F8F8F8"/>
      </a:accent6>
      <a:hlink>
        <a:srgbClr val="FFCC00"/>
      </a:hlink>
      <a:folHlink>
        <a:srgbClr val="D40511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7E2520231FB7943A04FF29D0B695AD1" ma:contentTypeVersion="4" ma:contentTypeDescription="Create a new document." ma:contentTypeScope="" ma:versionID="13cf267db8361ec818a4894d38845d55">
  <xsd:schema xmlns:xsd="http://www.w3.org/2001/XMLSchema" xmlns:xs="http://www.w3.org/2001/XMLSchema" xmlns:p="http://schemas.microsoft.com/office/2006/metadata/properties" xmlns:ns2="5bb8f77b-72ce-46d5-a453-c56c85609f97" targetNamespace="http://schemas.microsoft.com/office/2006/metadata/properties" ma:root="true" ma:fieldsID="6fb37b85d164eff19e23b4cab041e115" ns2:_="">
    <xsd:import namespace="5bb8f77b-72ce-46d5-a453-c56c85609f97"/>
    <xsd:element name="properties">
      <xsd:complexType>
        <xsd:sequence>
          <xsd:element name="documentManagement">
            <xsd:complexType>
              <xsd:all>
                <xsd:element ref="ns2:Status" minOccurs="0"/>
                <xsd:element ref="ns2:Key_x0020_Word_x0020_1" minOccurs="0"/>
                <xsd:element ref="ns2:Key_x0020_Word_x0020_2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b8f77b-72ce-46d5-a453-c56c85609f97" elementFormDefault="qualified">
    <xsd:import namespace="http://schemas.microsoft.com/office/2006/documentManagement/types"/>
    <xsd:import namespace="http://schemas.microsoft.com/office/infopath/2007/PartnerControls"/>
    <xsd:element name="Status" ma:index="8" nillable="true" ma:displayName="Status" ma:format="Dropdown" ma:internalName="Status">
      <xsd:simpleType>
        <xsd:union memberTypes="dms:Text">
          <xsd:simpleType>
            <xsd:restriction base="dms:Choice">
              <xsd:enumeration value="Draft"/>
              <xsd:enumeration value="Pre-final version"/>
              <xsd:enumeration value="Final version"/>
              <xsd:enumeration value="Published"/>
            </xsd:restriction>
          </xsd:simpleType>
        </xsd:union>
      </xsd:simpleType>
    </xsd:element>
    <xsd:element name="Key_x0020_Word_x0020_1" ma:index="9" nillable="true" ma:displayName="Key Word 1" ma:format="Dropdown" ma:internalName="Key_x0020_Word_x0020_1">
      <xsd:simpleType>
        <xsd:union memberTypes="dms:Text">
          <xsd:simpleType>
            <xsd:restriction base="dms:Choice">
              <xsd:enumeration value="Enter Choice #1"/>
              <xsd:enumeration value="Enter Choice #2"/>
              <xsd:enumeration value="Enter Choice #3"/>
            </xsd:restriction>
          </xsd:simpleType>
        </xsd:union>
      </xsd:simpleType>
    </xsd:element>
    <xsd:element name="Key_x0020_Word_x0020_2" ma:index="10" nillable="true" ma:displayName="Key Word 2" ma:format="Dropdown" ma:internalName="Key_x0020_Word_x0020_2">
      <xsd:simpleType>
        <xsd:union memberTypes="dms:Text">
          <xsd:simpleType>
            <xsd:restriction base="dms:Choice">
              <xsd:enumeration value="Enter Choice #1"/>
              <xsd:enumeration value="Enter Choice #2"/>
              <xsd:enumeration value="Enter Choice #3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5bb8f77b-72ce-46d5-a453-c56c85609f97" xsi:nil="true"/>
    <Key_x0020_Word_x0020_1 xmlns="5bb8f77b-72ce-46d5-a453-c56c85609f97" xsi:nil="true"/>
    <Key_x0020_Word_x0020_2 xmlns="5bb8f77b-72ce-46d5-a453-c56c85609f97" xsi:nil="true"/>
  </documentManagement>
</p:properties>
</file>

<file path=customXml/itemProps1.xml><?xml version="1.0" encoding="utf-8"?>
<ds:datastoreItem xmlns:ds="http://schemas.openxmlformats.org/officeDocument/2006/customXml" ds:itemID="{EF061040-6E56-4C1B-A319-E6C0A8EF919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bb8f77b-72ce-46d5-a453-c56c85609f9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799A4A6-402B-4C59-988F-D4D13B4A85B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78D40FE-157A-48CB-9EBF-F2157EADE89B}">
  <ds:schemaRefs>
    <ds:schemaRef ds:uri="http://www.w3.org/XML/1998/namespace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purl.org/dc/terms/"/>
    <ds:schemaRef ds:uri="http://schemas.microsoft.com/office/infopath/2007/PartnerControls"/>
    <ds:schemaRef ds:uri="http://purl.org/dc/elements/1.1/"/>
    <ds:schemaRef ds:uri="5bb8f77b-72ce-46d5-a453-c56c85609f97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HL_PPT_4x3</Template>
  <TotalTime>0</TotalTime>
  <Words>326</Words>
  <Application>Microsoft Office PowerPoint</Application>
  <PresentationFormat>A4 (210 × 297 mm)</PresentationFormat>
  <Paragraphs>55</Paragraphs>
  <Slides>2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</vt:i4>
      </vt:variant>
    </vt:vector>
  </HeadingPairs>
  <TitlesOfParts>
    <vt:vector size="9" baseType="lpstr">
      <vt:lpstr>Arial</vt:lpstr>
      <vt:lpstr>Delivery</vt:lpstr>
      <vt:lpstr>Delivery Arabic Cd Black</vt:lpstr>
      <vt:lpstr>Symbol</vt:lpstr>
      <vt:lpstr>Wingdings</vt:lpstr>
      <vt:lpstr>DHL_PPT_4x3</vt:lpstr>
      <vt:lpstr>think-cell Slide</vt:lpstr>
      <vt:lpstr>Prezentace aplikace PowerPoint</vt:lpstr>
      <vt:lpstr>Prezentace aplikace PowerPoint</vt:lpstr>
    </vt:vector>
  </TitlesOfParts>
  <Company>Deutsche Post DH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S Platform Solution Arichitecture Overview</dc:title>
  <dc:creator>Kishore Khadke</dc:creator>
  <cp:lastModifiedBy>Petra Samkova (DHL Supply Chain)</cp:lastModifiedBy>
  <cp:revision>794</cp:revision>
  <cp:lastPrinted>2022-03-31T14:57:38Z</cp:lastPrinted>
  <dcterms:created xsi:type="dcterms:W3CDTF">2013-06-20T08:19:36Z</dcterms:created>
  <dcterms:modified xsi:type="dcterms:W3CDTF">2024-01-17T14:21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ufzeichnungsdatum">
    <vt:lpwstr>June 2013</vt:lpwstr>
  </property>
  <property fmtid="{D5CDD505-2E9C-101B-9397-08002B2CF9AE}" pid="3" name="Dokumentnummer">
    <vt:lpwstr>1.0</vt:lpwstr>
  </property>
  <property fmtid="{D5CDD505-2E9C-101B-9397-08002B2CF9AE}" pid="4" name="Office">
    <vt:lpwstr>2007/2010</vt:lpwstr>
  </property>
  <property fmtid="{D5CDD505-2E9C-101B-9397-08002B2CF9AE}" pid="5" name="subline">
    <vt:lpwstr/>
  </property>
  <property fmtid="{D5CDD505-2E9C-101B-9397-08002B2CF9AE}" pid="6" name="location">
    <vt:lpwstr/>
  </property>
  <property fmtid="{D5CDD505-2E9C-101B-9397-08002B2CF9AE}" pid="7" name="project">
    <vt:lpwstr/>
  </property>
  <property fmtid="{D5CDD505-2E9C-101B-9397-08002B2CF9AE}" pid="8" name="date">
    <vt:lpwstr>June 2015</vt:lpwstr>
  </property>
  <property fmtid="{D5CDD505-2E9C-101B-9397-08002B2CF9AE}" pid="9" name="descriptor">
    <vt:lpwstr>Life Sciences and Healthcare</vt:lpwstr>
  </property>
  <property fmtid="{D5CDD505-2E9C-101B-9397-08002B2CF9AE}" pid="10" name="identifier">
    <vt:lpwstr/>
  </property>
  <property fmtid="{D5CDD505-2E9C-101B-9397-08002B2CF9AE}" pid="11" name="classification">
    <vt:lpwstr>FOR INTERNAL USE</vt:lpwstr>
  </property>
  <property fmtid="{D5CDD505-2E9C-101B-9397-08002B2CF9AE}" pid="12" name="ContentTypeId">
    <vt:lpwstr>0x010100D7E2520231FB7943A04FF29D0B695AD1</vt:lpwstr>
  </property>
  <property fmtid="{D5CDD505-2E9C-101B-9397-08002B2CF9AE}" pid="13" name="MSIP_Label_736915f3-2f02-4945-8997-f2963298db46_Enabled">
    <vt:lpwstr>true</vt:lpwstr>
  </property>
  <property fmtid="{D5CDD505-2E9C-101B-9397-08002B2CF9AE}" pid="14" name="MSIP_Label_736915f3-2f02-4945-8997-f2963298db46_SetDate">
    <vt:lpwstr>2022-03-31T14:59:53Z</vt:lpwstr>
  </property>
  <property fmtid="{D5CDD505-2E9C-101B-9397-08002B2CF9AE}" pid="15" name="MSIP_Label_736915f3-2f02-4945-8997-f2963298db46_Method">
    <vt:lpwstr>Standard</vt:lpwstr>
  </property>
  <property fmtid="{D5CDD505-2E9C-101B-9397-08002B2CF9AE}" pid="16" name="MSIP_Label_736915f3-2f02-4945-8997-f2963298db46_Name">
    <vt:lpwstr>Internal</vt:lpwstr>
  </property>
  <property fmtid="{D5CDD505-2E9C-101B-9397-08002B2CF9AE}" pid="17" name="MSIP_Label_736915f3-2f02-4945-8997-f2963298db46_SiteId">
    <vt:lpwstr>cd99fef8-1cd3-4a2a-9bdf-15531181d65e</vt:lpwstr>
  </property>
  <property fmtid="{D5CDD505-2E9C-101B-9397-08002B2CF9AE}" pid="18" name="MSIP_Label_736915f3-2f02-4945-8997-f2963298db46_ActionId">
    <vt:lpwstr>85dcd168-1307-4156-b674-ef1ec09f736f</vt:lpwstr>
  </property>
  <property fmtid="{D5CDD505-2E9C-101B-9397-08002B2CF9AE}" pid="19" name="MSIP_Label_736915f3-2f02-4945-8997-f2963298db46_ContentBits">
    <vt:lpwstr>1</vt:lpwstr>
  </property>
</Properties>
</file>